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3">
  <p:sldMasterIdLst>
    <p:sldMasterId id="2147483673" r:id="rId5"/>
    <p:sldMasterId id="2147483684" r:id="rId6"/>
    <p:sldMasterId id="2147483687" r:id="rId7"/>
    <p:sldMasterId id="2147483698" r:id="rId8"/>
    <p:sldMasterId id="2147483718" r:id="rId9"/>
  </p:sldMasterIdLst>
  <p:notesMasterIdLst>
    <p:notesMasterId r:id="rId11"/>
  </p:notesMasterIdLst>
  <p:handoutMasterIdLst>
    <p:handoutMasterId r:id="rId12"/>
  </p:handoutMasterIdLst>
  <p:sldIdLst>
    <p:sldId id="1452" r:id="rId10"/>
  </p:sldIdLst>
  <p:sldSz cx="9906000" cy="6858000" type="A4"/>
  <p:notesSz cx="6805613" cy="99441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indows User" initials="WU" lastIdx="13" clrIdx="0"/>
  <p:cmAuthor id="7" name="Sarah Burns" initials="cb" lastIdx="3" clrIdx="7">
    <p:extLst>
      <p:ext uri="{19B8F6BF-5375-455C-9EA6-DF929625EA0E}">
        <p15:presenceInfo xmlns:p15="http://schemas.microsoft.com/office/powerpoint/2012/main" userId="Sarah Burns" providerId="None"/>
      </p:ext>
    </p:extLst>
  </p:cmAuthor>
  <p:cmAuthor id="1" name="Daniel Moore" initials="DM" lastIdx="1" clrIdx="1"/>
  <p:cmAuthor id="2" name="Michael Meredith" initials="MM" lastIdx="5" clrIdx="2"/>
  <p:cmAuthor id="3" name="Kin Chan" initials="KC" lastIdx="2" clrIdx="3"/>
  <p:cmAuthor id="4" name="Daniel Burke" initials="DB" lastIdx="3" clrIdx="4"/>
  <p:cmAuthor id="5" name="White, Matt" initials="WM" lastIdx="26" clrIdx="5"/>
  <p:cmAuthor id="6" name="Walsh2, Laura" initials="WL" lastIdx="1" clrIdx="6">
    <p:extLst>
      <p:ext uri="{19B8F6BF-5375-455C-9EA6-DF929625EA0E}">
        <p15:presenceInfo xmlns:p15="http://schemas.microsoft.com/office/powerpoint/2012/main" userId="S-1-5-21-4183519483-3059463924-2091044566-9287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DAD8"/>
    <a:srgbClr val="49408C"/>
    <a:srgbClr val="8B2B75"/>
    <a:srgbClr val="364BB4"/>
    <a:srgbClr val="B83A8D"/>
    <a:srgbClr val="4CBBB7"/>
    <a:srgbClr val="D6A704"/>
    <a:srgbClr val="B2B2B2"/>
    <a:srgbClr val="F0BE16"/>
    <a:srgbClr val="F165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929E9CC-62C1-4F24-9C16-216EEE7C5F78}" v="1" dt="2021-07-02T10:57:26.4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00" autoAdjust="0"/>
    <p:restoredTop sz="94707" autoAdjust="0"/>
  </p:normalViewPr>
  <p:slideViewPr>
    <p:cSldViewPr>
      <p:cViewPr varScale="1">
        <p:scale>
          <a:sx n="70" d="100"/>
          <a:sy n="70" d="100"/>
        </p:scale>
        <p:origin x="1476" y="8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9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600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commentAuthors" Target="commentAuthors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chel Flagg (NHS South West London CCG)" userId="2bcf961b-fa75-446d-b1ba-3e98a23f1e6d" providerId="ADAL" clId="{7B0845E3-2B2A-44CC-A020-425F9A5246B5}"/>
    <pc:docChg chg="custSel delSld modSld delMainMaster">
      <pc:chgData name="Rachel Flagg (NHS South West London CCG)" userId="2bcf961b-fa75-446d-b1ba-3e98a23f1e6d" providerId="ADAL" clId="{7B0845E3-2B2A-44CC-A020-425F9A5246B5}" dt="2021-02-11T17:50:46.907" v="1112" actId="20577"/>
      <pc:docMkLst>
        <pc:docMk/>
      </pc:docMkLst>
      <pc:sldChg chg="modSp mod">
        <pc:chgData name="Rachel Flagg (NHS South West London CCG)" userId="2bcf961b-fa75-446d-b1ba-3e98a23f1e6d" providerId="ADAL" clId="{7B0845E3-2B2A-44CC-A020-425F9A5246B5}" dt="2021-02-11T17:50:46.907" v="1112" actId="20577"/>
        <pc:sldMkLst>
          <pc:docMk/>
          <pc:sldMk cId="356265656" sldId="321"/>
        </pc:sldMkLst>
        <pc:spChg chg="mod">
          <ac:chgData name="Rachel Flagg (NHS South West London CCG)" userId="2bcf961b-fa75-446d-b1ba-3e98a23f1e6d" providerId="ADAL" clId="{7B0845E3-2B2A-44CC-A020-425F9A5246B5}" dt="2021-02-11T17:50:46.907" v="1112" actId="20577"/>
          <ac:spMkLst>
            <pc:docMk/>
            <pc:sldMk cId="356265656" sldId="321"/>
            <ac:spMk id="6" creationId="{00000000-0000-0000-0000-000000000000}"/>
          </ac:spMkLst>
        </pc:spChg>
        <pc:graphicFrameChg chg="modGraphic">
          <ac:chgData name="Rachel Flagg (NHS South West London CCG)" userId="2bcf961b-fa75-446d-b1ba-3e98a23f1e6d" providerId="ADAL" clId="{7B0845E3-2B2A-44CC-A020-425F9A5246B5}" dt="2021-02-11T17:50:23.204" v="1046" actId="20577"/>
          <ac:graphicFrameMkLst>
            <pc:docMk/>
            <pc:sldMk cId="356265656" sldId="321"/>
            <ac:graphicFrameMk id="5" creationId="{E2D9B0C7-A6BB-4624-B343-D63717CD6D2C}"/>
          </ac:graphicFrameMkLst>
        </pc:graphicFrameChg>
      </pc:sldChg>
      <pc:sldChg chg="modSp mod">
        <pc:chgData name="Rachel Flagg (NHS South West London CCG)" userId="2bcf961b-fa75-446d-b1ba-3e98a23f1e6d" providerId="ADAL" clId="{7B0845E3-2B2A-44CC-A020-425F9A5246B5}" dt="2021-02-11T16:47:16.091" v="178" actId="255"/>
        <pc:sldMkLst>
          <pc:docMk/>
          <pc:sldMk cId="3313090087" sldId="967"/>
        </pc:sldMkLst>
        <pc:spChg chg="mod">
          <ac:chgData name="Rachel Flagg (NHS South West London CCG)" userId="2bcf961b-fa75-446d-b1ba-3e98a23f1e6d" providerId="ADAL" clId="{7B0845E3-2B2A-44CC-A020-425F9A5246B5}" dt="2021-02-11T16:47:16.091" v="178" actId="255"/>
          <ac:spMkLst>
            <pc:docMk/>
            <pc:sldMk cId="3313090087" sldId="967"/>
            <ac:spMk id="7" creationId="{00000000-0000-0000-0000-000000000000}"/>
          </ac:spMkLst>
        </pc:spChg>
      </pc:sldChg>
      <pc:sldChg chg="del">
        <pc:chgData name="Rachel Flagg (NHS South West London CCG)" userId="2bcf961b-fa75-446d-b1ba-3e98a23f1e6d" providerId="ADAL" clId="{7B0845E3-2B2A-44CC-A020-425F9A5246B5}" dt="2021-02-11T17:43:19.281" v="637" actId="47"/>
        <pc:sldMkLst>
          <pc:docMk/>
          <pc:sldMk cId="3840961691" sldId="1388"/>
        </pc:sldMkLst>
      </pc:sldChg>
      <pc:sldChg chg="del">
        <pc:chgData name="Rachel Flagg (NHS South West London CCG)" userId="2bcf961b-fa75-446d-b1ba-3e98a23f1e6d" providerId="ADAL" clId="{7B0845E3-2B2A-44CC-A020-425F9A5246B5}" dt="2021-02-11T16:35:56.259" v="6" actId="47"/>
        <pc:sldMkLst>
          <pc:docMk/>
          <pc:sldMk cId="2581698748" sldId="1389"/>
        </pc:sldMkLst>
      </pc:sldChg>
      <pc:sldChg chg="del">
        <pc:chgData name="Rachel Flagg (NHS South West London CCG)" userId="2bcf961b-fa75-446d-b1ba-3e98a23f1e6d" providerId="ADAL" clId="{7B0845E3-2B2A-44CC-A020-425F9A5246B5}" dt="2021-02-11T16:35:39.121" v="1" actId="47"/>
        <pc:sldMkLst>
          <pc:docMk/>
          <pc:sldMk cId="3488808146" sldId="1393"/>
        </pc:sldMkLst>
      </pc:sldChg>
      <pc:sldChg chg="del">
        <pc:chgData name="Rachel Flagg (NHS South West London CCG)" userId="2bcf961b-fa75-446d-b1ba-3e98a23f1e6d" providerId="ADAL" clId="{7B0845E3-2B2A-44CC-A020-425F9A5246B5}" dt="2021-02-11T16:50:32.777" v="556" actId="47"/>
        <pc:sldMkLst>
          <pc:docMk/>
          <pc:sldMk cId="276170894" sldId="1414"/>
        </pc:sldMkLst>
      </pc:sldChg>
      <pc:sldChg chg="del">
        <pc:chgData name="Rachel Flagg (NHS South West London CCG)" userId="2bcf961b-fa75-446d-b1ba-3e98a23f1e6d" providerId="ADAL" clId="{7B0845E3-2B2A-44CC-A020-425F9A5246B5}" dt="2021-02-11T16:50:34.970" v="557" actId="47"/>
        <pc:sldMkLst>
          <pc:docMk/>
          <pc:sldMk cId="1090504345" sldId="1415"/>
        </pc:sldMkLst>
      </pc:sldChg>
      <pc:sldChg chg="del">
        <pc:chgData name="Rachel Flagg (NHS South West London CCG)" userId="2bcf961b-fa75-446d-b1ba-3e98a23f1e6d" providerId="ADAL" clId="{7B0845E3-2B2A-44CC-A020-425F9A5246B5}" dt="2021-02-11T16:35:40.386" v="2" actId="47"/>
        <pc:sldMkLst>
          <pc:docMk/>
          <pc:sldMk cId="442515762" sldId="1416"/>
        </pc:sldMkLst>
      </pc:sldChg>
      <pc:sldChg chg="modSp mod">
        <pc:chgData name="Rachel Flagg (NHS South West London CCG)" userId="2bcf961b-fa75-446d-b1ba-3e98a23f1e6d" providerId="ADAL" clId="{7B0845E3-2B2A-44CC-A020-425F9A5246B5}" dt="2021-02-11T17:46:17.938" v="884" actId="20577"/>
        <pc:sldMkLst>
          <pc:docMk/>
          <pc:sldMk cId="3408414101" sldId="1416"/>
        </pc:sldMkLst>
        <pc:spChg chg="mod">
          <ac:chgData name="Rachel Flagg (NHS South West London CCG)" userId="2bcf961b-fa75-446d-b1ba-3e98a23f1e6d" providerId="ADAL" clId="{7B0845E3-2B2A-44CC-A020-425F9A5246B5}" dt="2021-02-11T16:47:41.943" v="184" actId="20577"/>
          <ac:spMkLst>
            <pc:docMk/>
            <pc:sldMk cId="3408414101" sldId="1416"/>
            <ac:spMk id="2" creationId="{00000000-0000-0000-0000-000000000000}"/>
          </ac:spMkLst>
        </pc:spChg>
        <pc:spChg chg="mod">
          <ac:chgData name="Rachel Flagg (NHS South West London CCG)" userId="2bcf961b-fa75-446d-b1ba-3e98a23f1e6d" providerId="ADAL" clId="{7B0845E3-2B2A-44CC-A020-425F9A5246B5}" dt="2021-02-11T16:47:45.013" v="185" actId="20577"/>
          <ac:spMkLst>
            <pc:docMk/>
            <pc:sldMk cId="3408414101" sldId="1416"/>
            <ac:spMk id="5" creationId="{42FCCE16-DA99-49DF-A606-B16592DA6FEC}"/>
          </ac:spMkLst>
        </pc:spChg>
        <pc:spChg chg="mod">
          <ac:chgData name="Rachel Flagg (NHS South West London CCG)" userId="2bcf961b-fa75-446d-b1ba-3e98a23f1e6d" providerId="ADAL" clId="{7B0845E3-2B2A-44CC-A020-425F9A5246B5}" dt="2021-02-11T17:46:17.938" v="884" actId="20577"/>
          <ac:spMkLst>
            <pc:docMk/>
            <pc:sldMk cId="3408414101" sldId="1416"/>
            <ac:spMk id="11" creationId="{00000000-0000-0000-0000-000000000000}"/>
          </ac:spMkLst>
        </pc:spChg>
      </pc:sldChg>
      <pc:sldChg chg="del">
        <pc:chgData name="Rachel Flagg (NHS South West London CCG)" userId="2bcf961b-fa75-446d-b1ba-3e98a23f1e6d" providerId="ADAL" clId="{7B0845E3-2B2A-44CC-A020-425F9A5246B5}" dt="2021-02-11T16:35:42.505" v="4" actId="47"/>
        <pc:sldMkLst>
          <pc:docMk/>
          <pc:sldMk cId="943666743" sldId="1417"/>
        </pc:sldMkLst>
      </pc:sldChg>
      <pc:sldChg chg="del">
        <pc:chgData name="Rachel Flagg (NHS South West London CCG)" userId="2bcf961b-fa75-446d-b1ba-3e98a23f1e6d" providerId="ADAL" clId="{7B0845E3-2B2A-44CC-A020-425F9A5246B5}" dt="2021-02-11T16:35:41.154" v="3" actId="47"/>
        <pc:sldMkLst>
          <pc:docMk/>
          <pc:sldMk cId="1754902868" sldId="1418"/>
        </pc:sldMkLst>
      </pc:sldChg>
      <pc:sldChg chg="del">
        <pc:chgData name="Rachel Flagg (NHS South West London CCG)" userId="2bcf961b-fa75-446d-b1ba-3e98a23f1e6d" providerId="ADAL" clId="{7B0845E3-2B2A-44CC-A020-425F9A5246B5}" dt="2021-02-11T16:35:50.013" v="5" actId="47"/>
        <pc:sldMkLst>
          <pc:docMk/>
          <pc:sldMk cId="2175744781" sldId="1419"/>
        </pc:sldMkLst>
      </pc:sldChg>
      <pc:sldChg chg="del">
        <pc:chgData name="Rachel Flagg (NHS South West London CCG)" userId="2bcf961b-fa75-446d-b1ba-3e98a23f1e6d" providerId="ADAL" clId="{7B0845E3-2B2A-44CC-A020-425F9A5246B5}" dt="2021-02-11T16:36:03.193" v="7" actId="47"/>
        <pc:sldMkLst>
          <pc:docMk/>
          <pc:sldMk cId="254028680" sldId="1420"/>
        </pc:sldMkLst>
      </pc:sldChg>
      <pc:sldChg chg="del">
        <pc:chgData name="Rachel Flagg (NHS South West London CCG)" userId="2bcf961b-fa75-446d-b1ba-3e98a23f1e6d" providerId="ADAL" clId="{7B0845E3-2B2A-44CC-A020-425F9A5246B5}" dt="2021-02-11T16:35:35.914" v="0" actId="47"/>
        <pc:sldMkLst>
          <pc:docMk/>
          <pc:sldMk cId="967721266" sldId="1421"/>
        </pc:sldMkLst>
      </pc:sldChg>
      <pc:sldMasterChg chg="del delSldLayout">
        <pc:chgData name="Rachel Flagg (NHS South West London CCG)" userId="2bcf961b-fa75-446d-b1ba-3e98a23f1e6d" providerId="ADAL" clId="{7B0845E3-2B2A-44CC-A020-425F9A5246B5}" dt="2021-02-11T16:50:34.970" v="557" actId="47"/>
        <pc:sldMasterMkLst>
          <pc:docMk/>
          <pc:sldMasterMk cId="2518954006" sldId="2147483723"/>
        </pc:sldMasterMkLst>
        <pc:sldLayoutChg chg="del">
          <pc:chgData name="Rachel Flagg (NHS South West London CCG)" userId="2bcf961b-fa75-446d-b1ba-3e98a23f1e6d" providerId="ADAL" clId="{7B0845E3-2B2A-44CC-A020-425F9A5246B5}" dt="2021-02-11T16:50:34.970" v="557" actId="47"/>
          <pc:sldLayoutMkLst>
            <pc:docMk/>
            <pc:sldMasterMk cId="2518954006" sldId="2147483723"/>
            <pc:sldLayoutMk cId="2259323825" sldId="2147483724"/>
          </pc:sldLayoutMkLst>
        </pc:sldLayoutChg>
        <pc:sldLayoutChg chg="del">
          <pc:chgData name="Rachel Flagg (NHS South West London CCG)" userId="2bcf961b-fa75-446d-b1ba-3e98a23f1e6d" providerId="ADAL" clId="{7B0845E3-2B2A-44CC-A020-425F9A5246B5}" dt="2021-02-11T16:50:34.970" v="557" actId="47"/>
          <pc:sldLayoutMkLst>
            <pc:docMk/>
            <pc:sldMasterMk cId="2518954006" sldId="2147483723"/>
            <pc:sldLayoutMk cId="1947026544" sldId="2147483725"/>
          </pc:sldLayoutMkLst>
        </pc:sldLayoutChg>
        <pc:sldLayoutChg chg="del">
          <pc:chgData name="Rachel Flagg (NHS South West London CCG)" userId="2bcf961b-fa75-446d-b1ba-3e98a23f1e6d" providerId="ADAL" clId="{7B0845E3-2B2A-44CC-A020-425F9A5246B5}" dt="2021-02-11T16:50:34.970" v="557" actId="47"/>
          <pc:sldLayoutMkLst>
            <pc:docMk/>
            <pc:sldMasterMk cId="2518954006" sldId="2147483723"/>
            <pc:sldLayoutMk cId="2413055844" sldId="2147483726"/>
          </pc:sldLayoutMkLst>
        </pc:sldLayoutChg>
        <pc:sldLayoutChg chg="del">
          <pc:chgData name="Rachel Flagg (NHS South West London CCG)" userId="2bcf961b-fa75-446d-b1ba-3e98a23f1e6d" providerId="ADAL" clId="{7B0845E3-2B2A-44CC-A020-425F9A5246B5}" dt="2021-02-11T16:50:34.970" v="557" actId="47"/>
          <pc:sldLayoutMkLst>
            <pc:docMk/>
            <pc:sldMasterMk cId="2518954006" sldId="2147483723"/>
            <pc:sldLayoutMk cId="3861461118" sldId="2147483727"/>
          </pc:sldLayoutMkLst>
        </pc:sldLayoutChg>
        <pc:sldLayoutChg chg="del">
          <pc:chgData name="Rachel Flagg (NHS South West London CCG)" userId="2bcf961b-fa75-446d-b1ba-3e98a23f1e6d" providerId="ADAL" clId="{7B0845E3-2B2A-44CC-A020-425F9A5246B5}" dt="2021-02-11T16:50:34.970" v="557" actId="47"/>
          <pc:sldLayoutMkLst>
            <pc:docMk/>
            <pc:sldMasterMk cId="2518954006" sldId="2147483723"/>
            <pc:sldLayoutMk cId="2793843906" sldId="2147483728"/>
          </pc:sldLayoutMkLst>
        </pc:sldLayoutChg>
        <pc:sldLayoutChg chg="del">
          <pc:chgData name="Rachel Flagg (NHS South West London CCG)" userId="2bcf961b-fa75-446d-b1ba-3e98a23f1e6d" providerId="ADAL" clId="{7B0845E3-2B2A-44CC-A020-425F9A5246B5}" dt="2021-02-11T16:50:34.970" v="557" actId="47"/>
          <pc:sldLayoutMkLst>
            <pc:docMk/>
            <pc:sldMasterMk cId="2518954006" sldId="2147483723"/>
            <pc:sldLayoutMk cId="903655127" sldId="2147483729"/>
          </pc:sldLayoutMkLst>
        </pc:sldLayoutChg>
        <pc:sldLayoutChg chg="del">
          <pc:chgData name="Rachel Flagg (NHS South West London CCG)" userId="2bcf961b-fa75-446d-b1ba-3e98a23f1e6d" providerId="ADAL" clId="{7B0845E3-2B2A-44CC-A020-425F9A5246B5}" dt="2021-02-11T16:50:34.970" v="557" actId="47"/>
          <pc:sldLayoutMkLst>
            <pc:docMk/>
            <pc:sldMasterMk cId="2518954006" sldId="2147483723"/>
            <pc:sldLayoutMk cId="2332604033" sldId="2147483730"/>
          </pc:sldLayoutMkLst>
        </pc:sldLayoutChg>
        <pc:sldLayoutChg chg="del">
          <pc:chgData name="Rachel Flagg (NHS South West London CCG)" userId="2bcf961b-fa75-446d-b1ba-3e98a23f1e6d" providerId="ADAL" clId="{7B0845E3-2B2A-44CC-A020-425F9A5246B5}" dt="2021-02-11T16:50:32.777" v="556" actId="47"/>
          <pc:sldLayoutMkLst>
            <pc:docMk/>
            <pc:sldMasterMk cId="2518954006" sldId="2147483723"/>
            <pc:sldLayoutMk cId="662777405" sldId="2147483731"/>
          </pc:sldLayoutMkLst>
        </pc:sldLayoutChg>
      </pc:sldMasterChg>
    </pc:docChg>
  </pc:docChgLst>
  <pc:docChgLst>
    <pc:chgData name="Jack Phillips" userId="cf8badf8-ee6d-4874-92ef-231bccf09a56" providerId="ADAL" clId="{D3144B1B-5334-4539-92D8-99198E237C8D}"/>
    <pc:docChg chg="modSld">
      <pc:chgData name="Jack Phillips" userId="cf8badf8-ee6d-4874-92ef-231bccf09a56" providerId="ADAL" clId="{D3144B1B-5334-4539-92D8-99198E237C8D}" dt="2021-06-14T18:38:11.884" v="41" actId="1076"/>
      <pc:docMkLst>
        <pc:docMk/>
      </pc:docMkLst>
      <pc:sldChg chg="modSp mod">
        <pc:chgData name="Jack Phillips" userId="cf8badf8-ee6d-4874-92ef-231bccf09a56" providerId="ADAL" clId="{D3144B1B-5334-4539-92D8-99198E237C8D}" dt="2021-06-14T18:38:11.884" v="41" actId="1076"/>
        <pc:sldMkLst>
          <pc:docMk/>
          <pc:sldMk cId="1755964182" sldId="1448"/>
        </pc:sldMkLst>
        <pc:spChg chg="mod">
          <ac:chgData name="Jack Phillips" userId="cf8badf8-ee6d-4874-92ef-231bccf09a56" providerId="ADAL" clId="{D3144B1B-5334-4539-92D8-99198E237C8D}" dt="2021-06-14T18:38:11.884" v="41" actId="1076"/>
          <ac:spMkLst>
            <pc:docMk/>
            <pc:sldMk cId="1755964182" sldId="1448"/>
            <ac:spMk id="2" creationId="{00000000-0000-0000-0000-000000000000}"/>
          </ac:spMkLst>
        </pc:spChg>
      </pc:sldChg>
      <pc:sldChg chg="modSp mod">
        <pc:chgData name="Jack Phillips" userId="cf8badf8-ee6d-4874-92ef-231bccf09a56" providerId="ADAL" clId="{D3144B1B-5334-4539-92D8-99198E237C8D}" dt="2021-06-14T18:37:21.598" v="35" actId="1076"/>
        <pc:sldMkLst>
          <pc:docMk/>
          <pc:sldMk cId="3645077894" sldId="1449"/>
        </pc:sldMkLst>
        <pc:spChg chg="mod">
          <ac:chgData name="Jack Phillips" userId="cf8badf8-ee6d-4874-92ef-231bccf09a56" providerId="ADAL" clId="{D3144B1B-5334-4539-92D8-99198E237C8D}" dt="2021-06-14T18:37:21.598" v="35" actId="1076"/>
          <ac:spMkLst>
            <pc:docMk/>
            <pc:sldMk cId="3645077894" sldId="1449"/>
            <ac:spMk id="2" creationId="{00000000-0000-0000-0000-000000000000}"/>
          </ac:spMkLst>
        </pc:spChg>
      </pc:sldChg>
      <pc:sldChg chg="modSp mod">
        <pc:chgData name="Jack Phillips" userId="cf8badf8-ee6d-4874-92ef-231bccf09a56" providerId="ADAL" clId="{D3144B1B-5334-4539-92D8-99198E237C8D}" dt="2021-06-14T18:37:26.334" v="36" actId="1076"/>
        <pc:sldMkLst>
          <pc:docMk/>
          <pc:sldMk cId="2735824867" sldId="1450"/>
        </pc:sldMkLst>
        <pc:spChg chg="mod">
          <ac:chgData name="Jack Phillips" userId="cf8badf8-ee6d-4874-92ef-231bccf09a56" providerId="ADAL" clId="{D3144B1B-5334-4539-92D8-99198E237C8D}" dt="2021-06-14T18:37:26.334" v="36" actId="1076"/>
          <ac:spMkLst>
            <pc:docMk/>
            <pc:sldMk cId="2735824867" sldId="1450"/>
            <ac:spMk id="2" creationId="{00000000-0000-0000-0000-000000000000}"/>
          </ac:spMkLst>
        </pc:spChg>
      </pc:sldChg>
      <pc:sldChg chg="modSp mod">
        <pc:chgData name="Jack Phillips" userId="cf8badf8-ee6d-4874-92ef-231bccf09a56" providerId="ADAL" clId="{D3144B1B-5334-4539-92D8-99198E237C8D}" dt="2021-06-14T18:37:32.715" v="37" actId="1076"/>
        <pc:sldMkLst>
          <pc:docMk/>
          <pc:sldMk cId="991525949" sldId="1451"/>
        </pc:sldMkLst>
        <pc:spChg chg="mod">
          <ac:chgData name="Jack Phillips" userId="cf8badf8-ee6d-4874-92ef-231bccf09a56" providerId="ADAL" clId="{D3144B1B-5334-4539-92D8-99198E237C8D}" dt="2021-06-14T18:37:32.715" v="37" actId="1076"/>
          <ac:spMkLst>
            <pc:docMk/>
            <pc:sldMk cId="991525949" sldId="1451"/>
            <ac:spMk id="2" creationId="{00000000-0000-0000-0000-000000000000}"/>
          </ac:spMkLst>
        </pc:spChg>
      </pc:sldChg>
      <pc:sldChg chg="modSp mod">
        <pc:chgData name="Jack Phillips" userId="cf8badf8-ee6d-4874-92ef-231bccf09a56" providerId="ADAL" clId="{D3144B1B-5334-4539-92D8-99198E237C8D}" dt="2021-06-14T18:37:40.373" v="38" actId="1076"/>
        <pc:sldMkLst>
          <pc:docMk/>
          <pc:sldMk cId="3550575095" sldId="1452"/>
        </pc:sldMkLst>
        <pc:spChg chg="mod">
          <ac:chgData name="Jack Phillips" userId="cf8badf8-ee6d-4874-92ef-231bccf09a56" providerId="ADAL" clId="{D3144B1B-5334-4539-92D8-99198E237C8D}" dt="2021-06-14T18:37:40.373" v="38" actId="1076"/>
          <ac:spMkLst>
            <pc:docMk/>
            <pc:sldMk cId="3550575095" sldId="1452"/>
            <ac:spMk id="2" creationId="{00000000-0000-0000-0000-000000000000}"/>
          </ac:spMkLst>
        </pc:spChg>
        <pc:graphicFrameChg chg="modGraphic">
          <ac:chgData name="Jack Phillips" userId="cf8badf8-ee6d-4874-92ef-231bccf09a56" providerId="ADAL" clId="{D3144B1B-5334-4539-92D8-99198E237C8D}" dt="2021-06-14T18:20:58.563" v="33" actId="20577"/>
          <ac:graphicFrameMkLst>
            <pc:docMk/>
            <pc:sldMk cId="3550575095" sldId="1452"/>
            <ac:graphicFrameMk id="5" creationId="{00000000-0000-0000-0000-000000000000}"/>
          </ac:graphicFrameMkLst>
        </pc:graphicFrameChg>
      </pc:sldChg>
      <pc:sldChg chg="modSp mod">
        <pc:chgData name="Jack Phillips" userId="cf8badf8-ee6d-4874-92ef-231bccf09a56" providerId="ADAL" clId="{D3144B1B-5334-4539-92D8-99198E237C8D}" dt="2021-06-14T18:37:45.818" v="39" actId="1076"/>
        <pc:sldMkLst>
          <pc:docMk/>
          <pc:sldMk cId="595503504" sldId="1453"/>
        </pc:sldMkLst>
        <pc:spChg chg="mod">
          <ac:chgData name="Jack Phillips" userId="cf8badf8-ee6d-4874-92ef-231bccf09a56" providerId="ADAL" clId="{D3144B1B-5334-4539-92D8-99198E237C8D}" dt="2021-06-14T18:37:45.818" v="39" actId="1076"/>
          <ac:spMkLst>
            <pc:docMk/>
            <pc:sldMk cId="595503504" sldId="1453"/>
            <ac:spMk id="2" creationId="{00000000-0000-0000-0000-000000000000}"/>
          </ac:spMkLst>
        </pc:spChg>
      </pc:sldChg>
      <pc:sldChg chg="modSp mod">
        <pc:chgData name="Jack Phillips" userId="cf8badf8-ee6d-4874-92ef-231bccf09a56" providerId="ADAL" clId="{D3144B1B-5334-4539-92D8-99198E237C8D}" dt="2021-06-14T18:37:50.568" v="40" actId="1076"/>
        <pc:sldMkLst>
          <pc:docMk/>
          <pc:sldMk cId="2271123845" sldId="1454"/>
        </pc:sldMkLst>
        <pc:spChg chg="mod">
          <ac:chgData name="Jack Phillips" userId="cf8badf8-ee6d-4874-92ef-231bccf09a56" providerId="ADAL" clId="{D3144B1B-5334-4539-92D8-99198E237C8D}" dt="2021-06-14T18:37:50.568" v="40" actId="1076"/>
          <ac:spMkLst>
            <pc:docMk/>
            <pc:sldMk cId="2271123845" sldId="1454"/>
            <ac:spMk id="2" creationId="{00000000-0000-0000-0000-000000000000}"/>
          </ac:spMkLst>
        </pc:spChg>
      </pc:sldChg>
    </pc:docChg>
  </pc:docChgLst>
  <pc:docChgLst>
    <pc:chgData name="Jack Phillips" userId="cf8badf8-ee6d-4874-92ef-231bccf09a56" providerId="ADAL" clId="{7929E9CC-62C1-4F24-9C16-216EEE7C5F78}"/>
    <pc:docChg chg="custSel modSld">
      <pc:chgData name="Jack Phillips" userId="cf8badf8-ee6d-4874-92ef-231bccf09a56" providerId="ADAL" clId="{7929E9CC-62C1-4F24-9C16-216EEE7C5F78}" dt="2021-07-02T11:09:56.433" v="93" actId="12"/>
      <pc:docMkLst>
        <pc:docMk/>
      </pc:docMkLst>
      <pc:sldChg chg="modSp mod">
        <pc:chgData name="Jack Phillips" userId="cf8badf8-ee6d-4874-92ef-231bccf09a56" providerId="ADAL" clId="{7929E9CC-62C1-4F24-9C16-216EEE7C5F78}" dt="2021-07-02T11:09:56.433" v="93" actId="12"/>
        <pc:sldMkLst>
          <pc:docMk/>
          <pc:sldMk cId="3993766184" sldId="1423"/>
        </pc:sldMkLst>
        <pc:graphicFrameChg chg="mod modGraphic">
          <ac:chgData name="Jack Phillips" userId="cf8badf8-ee6d-4874-92ef-231bccf09a56" providerId="ADAL" clId="{7929E9CC-62C1-4F24-9C16-216EEE7C5F78}" dt="2021-07-02T11:09:56.433" v="93" actId="12"/>
          <ac:graphicFrameMkLst>
            <pc:docMk/>
            <pc:sldMk cId="3993766184" sldId="1423"/>
            <ac:graphicFrameMk id="4" creationId="{00000000-0000-0000-0000-000000000000}"/>
          </ac:graphicFrameMkLst>
        </pc:graphicFrameChg>
      </pc:sldChg>
    </pc:docChg>
  </pc:docChgLst>
  <pc:docChgLst>
    <pc:chgData name="Joarder, Laila" userId="S::1004695@croydon.gov.uk::96a3f9d5-26e1-404b-913b-6be14d08e04e" providerId="AD" clId="Web-{2EF4D261-5955-46D0-BCD8-D8BACD1959B0}"/>
    <pc:docChg chg="modSld">
      <pc:chgData name="Joarder, Laila" userId="S::1004695@croydon.gov.uk::96a3f9d5-26e1-404b-913b-6be14d08e04e" providerId="AD" clId="Web-{2EF4D261-5955-46D0-BCD8-D8BACD1959B0}" dt="2021-02-25T10:15:47.396" v="19"/>
      <pc:docMkLst>
        <pc:docMk/>
      </pc:docMkLst>
      <pc:sldChg chg="modSp">
        <pc:chgData name="Joarder, Laila" userId="S::1004695@croydon.gov.uk::96a3f9d5-26e1-404b-913b-6be14d08e04e" providerId="AD" clId="Web-{2EF4D261-5955-46D0-BCD8-D8BACD1959B0}" dt="2021-02-25T10:15:13.661" v="5" actId="20577"/>
        <pc:sldMkLst>
          <pc:docMk/>
          <pc:sldMk cId="3993766184" sldId="1423"/>
        </pc:sldMkLst>
        <pc:spChg chg="mod">
          <ac:chgData name="Joarder, Laila" userId="S::1004695@croydon.gov.uk::96a3f9d5-26e1-404b-913b-6be14d08e04e" providerId="AD" clId="Web-{2EF4D261-5955-46D0-BCD8-D8BACD1959B0}" dt="2021-02-25T10:15:13.661" v="5" actId="20577"/>
          <ac:spMkLst>
            <pc:docMk/>
            <pc:sldMk cId="3993766184" sldId="1423"/>
            <ac:spMk id="3" creationId="{00000000-0000-0000-0000-000000000000}"/>
          </ac:spMkLst>
        </pc:spChg>
      </pc:sldChg>
      <pc:sldChg chg="modSp">
        <pc:chgData name="Joarder, Laila" userId="S::1004695@croydon.gov.uk::96a3f9d5-26e1-404b-913b-6be14d08e04e" providerId="AD" clId="Web-{2EF4D261-5955-46D0-BCD8-D8BACD1959B0}" dt="2021-02-25T10:15:47.396" v="19"/>
        <pc:sldMkLst>
          <pc:docMk/>
          <pc:sldMk cId="3818627862" sldId="1427"/>
        </pc:sldMkLst>
        <pc:graphicFrameChg chg="mod modGraphic">
          <ac:chgData name="Joarder, Laila" userId="S::1004695@croydon.gov.uk::96a3f9d5-26e1-404b-913b-6be14d08e04e" providerId="AD" clId="Web-{2EF4D261-5955-46D0-BCD8-D8BACD1959B0}" dt="2021-02-25T10:15:47.396" v="19"/>
          <ac:graphicFrameMkLst>
            <pc:docMk/>
            <pc:sldMk cId="3818627862" sldId="1427"/>
            <ac:graphicFrameMk id="3" creationId="{00000000-0000-0000-0000-000000000000}"/>
          </ac:graphicFrameMkLst>
        </pc:graphicFrameChg>
      </pc:sldChg>
    </pc:docChg>
  </pc:docChgLst>
  <pc:docChgLst>
    <pc:chgData name="Walsh2, Laura" userId="S::1000806@croydon.gov.uk::529b50fe-635f-467f-a3ed-4115629a3196" providerId="AD" clId="Web-{7A244BCA-7229-63DA-AA77-E33B1C1E3849}"/>
    <pc:docChg chg="modSld">
      <pc:chgData name="Walsh2, Laura" userId="S::1000806@croydon.gov.uk::529b50fe-635f-467f-a3ed-4115629a3196" providerId="AD" clId="Web-{7A244BCA-7229-63DA-AA77-E33B1C1E3849}" dt="2021-02-26T11:19:07.624" v="20" actId="20577"/>
      <pc:docMkLst>
        <pc:docMk/>
      </pc:docMkLst>
      <pc:sldChg chg="modSp">
        <pc:chgData name="Walsh2, Laura" userId="S::1000806@croydon.gov.uk::529b50fe-635f-467f-a3ed-4115629a3196" providerId="AD" clId="Web-{7A244BCA-7229-63DA-AA77-E33B1C1E3849}" dt="2021-02-26T11:19:07.624" v="20" actId="20577"/>
        <pc:sldMkLst>
          <pc:docMk/>
          <pc:sldMk cId="3993766184" sldId="1423"/>
        </pc:sldMkLst>
        <pc:spChg chg="mod">
          <ac:chgData name="Walsh2, Laura" userId="S::1000806@croydon.gov.uk::529b50fe-635f-467f-a3ed-4115629a3196" providerId="AD" clId="Web-{7A244BCA-7229-63DA-AA77-E33B1C1E3849}" dt="2021-02-26T11:19:07.624" v="20" actId="20577"/>
          <ac:spMkLst>
            <pc:docMk/>
            <pc:sldMk cId="3993766184" sldId="1423"/>
            <ac:spMk id="3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452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68C046-4E68-4B2A-A34C-DE6A4EE0A555}" type="datetimeFigureOut">
              <a:rPr lang="en-GB" smtClean="0"/>
              <a:t>02/11/2021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452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8E7774-FF43-4AE3-94CF-710A8626277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9415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3" y="8"/>
            <a:ext cx="2949575" cy="496888"/>
          </a:xfrm>
          <a:prstGeom prst="rect">
            <a:avLst/>
          </a:prstGeom>
        </p:spPr>
        <p:txBody>
          <a:bodyPr vert="horz" lIns="88280" tIns="44142" rIns="88280" bIns="44142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461" y="8"/>
            <a:ext cx="2949575" cy="496888"/>
          </a:xfrm>
          <a:prstGeom prst="rect">
            <a:avLst/>
          </a:prstGeom>
        </p:spPr>
        <p:txBody>
          <a:bodyPr vert="horz" lIns="88280" tIns="44142" rIns="88280" bIns="44142" rtlCol="0"/>
          <a:lstStyle>
            <a:lvl1pPr algn="r">
              <a:defRPr sz="1200"/>
            </a:lvl1pPr>
          </a:lstStyle>
          <a:p>
            <a:fld id="{A292B4A1-F66D-419C-AB89-B590F1100450}" type="datetimeFigureOut">
              <a:rPr lang="en-GB" smtClean="0"/>
              <a:t>02/11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6125"/>
            <a:ext cx="5386388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80" tIns="44142" rIns="88280" bIns="44142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45" y="4722818"/>
            <a:ext cx="5443537" cy="4475162"/>
          </a:xfrm>
          <a:prstGeom prst="rect">
            <a:avLst/>
          </a:prstGeom>
        </p:spPr>
        <p:txBody>
          <a:bodyPr vert="horz" lIns="88280" tIns="44142" rIns="88280" bIns="4414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3" y="9445629"/>
            <a:ext cx="2949575" cy="496888"/>
          </a:xfrm>
          <a:prstGeom prst="rect">
            <a:avLst/>
          </a:prstGeom>
        </p:spPr>
        <p:txBody>
          <a:bodyPr vert="horz" lIns="88280" tIns="44142" rIns="88280" bIns="44142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461" y="9445629"/>
            <a:ext cx="2949575" cy="496888"/>
          </a:xfrm>
          <a:prstGeom prst="rect">
            <a:avLst/>
          </a:prstGeom>
        </p:spPr>
        <p:txBody>
          <a:bodyPr vert="horz" lIns="88280" tIns="44142" rIns="88280" bIns="44142" rtlCol="0" anchor="b"/>
          <a:lstStyle>
            <a:lvl1pPr algn="r">
              <a:defRPr sz="1200"/>
            </a:lvl1pPr>
          </a:lstStyle>
          <a:p>
            <a:fld id="{B30C64EF-CF9D-4D0B-9952-3039D2E4FBA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5158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image" Target="../media/image1.png"/><Relationship Id="rId7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jpg"/><Relationship Id="rId4" Type="http://schemas.openxmlformats.org/officeDocument/2006/relationships/image" Target="../media/image3.jpg"/><Relationship Id="rId9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.png"/><Relationship Id="rId7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png"/><Relationship Id="rId5" Type="http://schemas.openxmlformats.org/officeDocument/2006/relationships/image" Target="../media/image17.jpeg"/><Relationship Id="rId4" Type="http://schemas.openxmlformats.org/officeDocument/2006/relationships/image" Target="../media/image16.jpeg"/><Relationship Id="rId9" Type="http://schemas.openxmlformats.org/officeDocument/2006/relationships/image" Target="../media/image19.jpe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.png"/><Relationship Id="rId7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png"/><Relationship Id="rId5" Type="http://schemas.openxmlformats.org/officeDocument/2006/relationships/image" Target="../media/image17.jpeg"/><Relationship Id="rId4" Type="http://schemas.openxmlformats.org/officeDocument/2006/relationships/image" Target="../media/image16.jpeg"/><Relationship Id="rId9" Type="http://schemas.openxmlformats.org/officeDocument/2006/relationships/image" Target="../media/image19.jpe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.png"/><Relationship Id="rId7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png"/><Relationship Id="rId5" Type="http://schemas.openxmlformats.org/officeDocument/2006/relationships/image" Target="../media/image17.jpeg"/><Relationship Id="rId4" Type="http://schemas.openxmlformats.org/officeDocument/2006/relationships/image" Target="../media/image16.jpeg"/><Relationship Id="rId9" Type="http://schemas.openxmlformats.org/officeDocument/2006/relationships/image" Target="../media/image19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image" Target="../media/image1.png"/><Relationship Id="rId7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jpg"/><Relationship Id="rId4" Type="http://schemas.openxmlformats.org/officeDocument/2006/relationships/image" Target="../media/image3.jpg"/><Relationship Id="rId9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5.png"/><Relationship Id="rId4" Type="http://schemas.openxmlformats.org/officeDocument/2006/relationships/image" Target="../media/image10.png"/><Relationship Id="rId9" Type="http://schemas.openxmlformats.org/officeDocument/2006/relationships/image" Target="../media/image14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40541" y="2780928"/>
            <a:ext cx="4442491" cy="1368152"/>
          </a:xfrm>
        </p:spPr>
        <p:txBody>
          <a:bodyPr/>
          <a:lstStyle>
            <a:lvl1pPr>
              <a:defRPr>
                <a:solidFill>
                  <a:srgbClr val="8B2B7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40534" y="4437112"/>
            <a:ext cx="5070564" cy="720080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400">
                <a:solidFill>
                  <a:srgbClr val="4CBBB7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2164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95306" y="188640"/>
            <a:ext cx="6719951" cy="778098"/>
          </a:xfrm>
        </p:spPr>
        <p:txBody>
          <a:bodyPr anchor="ctr"/>
          <a:lstStyle>
            <a:lvl1pPr>
              <a:lnSpc>
                <a:spcPct val="100000"/>
              </a:lnSpc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7262" y="1052736"/>
            <a:ext cx="990685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B2B7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7147041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7" y="116632"/>
            <a:ext cx="6641943" cy="778098"/>
          </a:xfrm>
        </p:spPr>
        <p:txBody>
          <a:bodyPr anchor="ctr"/>
          <a:lstStyle>
            <a:lvl1pPr>
              <a:lnSpc>
                <a:spcPct val="100000"/>
              </a:lnSpc>
              <a:defRPr sz="2000">
                <a:solidFill>
                  <a:srgbClr val="8B2B7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i="1" dirty="0"/>
              <a:t>Subheading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297412" y="1194031"/>
            <a:ext cx="4376870" cy="639762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>
                <a:solidFill>
                  <a:srgbClr val="4CBBB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47455" y="1210625"/>
            <a:ext cx="4378590" cy="639762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rgbClr val="4CBBB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297412" y="1918897"/>
            <a:ext cx="4376870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solidFill>
                  <a:schemeClr val="tx1"/>
                </a:solidFill>
              </a:defRPr>
            </a:lvl1pPr>
            <a:lvl2pPr marL="800100" indent="-342900" fontAlgn="base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Font typeface="Wingdings" panose="05000000000000000000" pitchFamily="2" charset="2"/>
              <a:buChar char="§"/>
              <a:tabLst>
                <a:tab pos="914400" algn="l"/>
              </a:tabLst>
              <a:defRPr sz="2000">
                <a:latin typeface="+mj-lt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SzPct val="60000"/>
              <a:buFont typeface="Wingdings" panose="05000000000000000000" pitchFamily="2" charset="2"/>
              <a:buChar char="q"/>
              <a:defRPr sz="1800"/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Font typeface="Courier New" panose="02070309020205020404" pitchFamily="49" charset="0"/>
              <a:buChar char="o"/>
              <a:defRPr sz="1600"/>
            </a:lvl4pPr>
            <a:lvl5pPr marL="2114550" indent="-285750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Font typeface="Arial" panose="020B0604020202020204" pitchFamily="34" charset="0"/>
              <a:buChar char="•"/>
              <a:defRPr sz="1600"/>
            </a:lvl5pPr>
            <a:lvl6pPr marL="2571750" indent="-285750">
              <a:buFontTx/>
              <a:buBlip>
                <a:blip r:embed="rId2"/>
              </a:buBlip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sz="1200" dirty="0">
              <a:effectLst/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4847455" y="1920167"/>
            <a:ext cx="4378590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solidFill>
                  <a:schemeClr val="tx1"/>
                </a:solidFill>
              </a:defRPr>
            </a:lvl1pPr>
            <a:lvl2pPr marL="742950" indent="-2857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Wingdings" panose="05000000000000000000" pitchFamily="2" charset="2"/>
              <a:buChar char="§"/>
              <a:defRPr lang="en-US" sz="2000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2pPr>
            <a:lvl3pPr marL="1143000" indent="-2286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SzPct val="60000"/>
              <a:buFont typeface="Wingdings" panose="05000000000000000000" pitchFamily="2" charset="2"/>
              <a:buChar char="q"/>
              <a:defRPr lang="en-US" sz="1800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3pPr>
            <a:lvl4pPr marL="1600200" indent="-2286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Courier New" panose="02070309020205020404" pitchFamily="49" charset="0"/>
              <a:buChar char="o"/>
              <a:defRPr lang="en-US" sz="1600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4pPr>
            <a:lvl5pPr marL="2057400" indent="-2286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Arial" panose="020B0604020202020204" pitchFamily="34" charset="0"/>
              <a:buChar char="•"/>
              <a:defRPr lang="en-US" sz="1600" dirty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5pPr>
            <a:lvl6pPr marL="2571750" indent="-285750">
              <a:buFontTx/>
              <a:buBlip>
                <a:blip r:embed="rId2"/>
              </a:buBlip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 bwMode="auto">
          <a:xfrm>
            <a:off x="0" y="-27384"/>
            <a:ext cx="9906000" cy="45719"/>
          </a:xfrm>
          <a:prstGeom prst="rect">
            <a:avLst/>
          </a:prstGeom>
          <a:solidFill>
            <a:srgbClr val="731A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 bwMode="auto">
          <a:xfrm>
            <a:off x="0" y="908720"/>
            <a:ext cx="990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731A7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5408" y="60092"/>
            <a:ext cx="1201275" cy="632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/>
          <p:cNvSpPr/>
          <p:nvPr/>
        </p:nvSpPr>
        <p:spPr bwMode="auto">
          <a:xfrm>
            <a:off x="44616" y="6244389"/>
            <a:ext cx="9906000" cy="72008"/>
          </a:xfrm>
          <a:prstGeom prst="rect">
            <a:avLst/>
          </a:prstGeom>
          <a:solidFill>
            <a:srgbClr val="8B2B7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44616" y="6177385"/>
            <a:ext cx="9906000" cy="46683"/>
          </a:xfrm>
          <a:prstGeom prst="rect">
            <a:avLst/>
          </a:prstGeom>
          <a:solidFill>
            <a:srgbClr val="4CBB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39894" y="6401501"/>
            <a:ext cx="9626211" cy="492443"/>
          </a:xfrm>
          <a:prstGeom prst="rect">
            <a:avLst/>
          </a:prstGeom>
          <a:noFill/>
        </p:spPr>
        <p:txBody>
          <a:bodyPr wrap="square" anchor="ctr" anchorCtr="0">
            <a:spAutoFit/>
          </a:bodyPr>
          <a:lstStyle/>
          <a:p>
            <a:pPr algn="ctr"/>
            <a:fld id="{2D7C80A6-A63C-9F45-88D3-880490AABCB7}" type="slidenum">
              <a:rPr lang="en-GB" sz="800" b="1" smtClean="0">
                <a:solidFill>
                  <a:srgbClr val="8B2B75"/>
                </a:solidFill>
              </a:rPr>
              <a:pPr algn="ctr"/>
              <a:t>‹#›</a:t>
            </a:fld>
            <a:endParaRPr lang="en-GB" sz="800" b="1" dirty="0">
              <a:solidFill>
                <a:srgbClr val="8B2B75"/>
              </a:solidFill>
            </a:endParaRPr>
          </a:p>
          <a:p>
            <a:pPr algn="ctr"/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70" t="10401" b="7466"/>
          <a:stretch/>
        </p:blipFill>
        <p:spPr>
          <a:xfrm>
            <a:off x="5992889" y="6459678"/>
            <a:ext cx="579990" cy="32117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708" y="6453335"/>
            <a:ext cx="521542" cy="269606"/>
          </a:xfrm>
          <a:prstGeom prst="rect">
            <a:avLst/>
          </a:prstGeom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110" y="6425671"/>
            <a:ext cx="641953" cy="32299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32328" y="6477523"/>
            <a:ext cx="846670" cy="23898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33" t="10229" r="3220" b="25248"/>
          <a:stretch/>
        </p:blipFill>
        <p:spPr>
          <a:xfrm>
            <a:off x="7237097" y="6436263"/>
            <a:ext cx="708748" cy="303750"/>
          </a:xfrm>
          <a:prstGeom prst="rect">
            <a:avLst/>
          </a:prstGeom>
        </p:spPr>
      </p:pic>
      <p:pic>
        <p:nvPicPr>
          <p:cNvPr id="20" name="Picture 19"/>
          <p:cNvPicPr/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79" t="25000" r="56184" b="16304"/>
          <a:stretch/>
        </p:blipFill>
        <p:spPr bwMode="auto">
          <a:xfrm>
            <a:off x="5208814" y="6453335"/>
            <a:ext cx="742676" cy="35204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51992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1772816"/>
            <a:ext cx="9906000" cy="1368152"/>
          </a:xfrm>
          <a:solidFill>
            <a:srgbClr val="8B2B75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072680" y="3429000"/>
            <a:ext cx="5070564" cy="720080"/>
          </a:xfrm>
        </p:spPr>
        <p:txBody>
          <a:bodyPr/>
          <a:lstStyle>
            <a:lvl1pPr marL="0" indent="0" algn="ctr">
              <a:lnSpc>
                <a:spcPts val="2113"/>
              </a:lnSpc>
              <a:buNone/>
              <a:defRPr sz="1950">
                <a:solidFill>
                  <a:srgbClr val="4CBBB7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3" name="Straight Connector 2"/>
          <p:cNvCxnSpPr/>
          <p:nvPr/>
        </p:nvCxnSpPr>
        <p:spPr bwMode="auto">
          <a:xfrm>
            <a:off x="0" y="3140968"/>
            <a:ext cx="9870546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rgbClr val="4CBBB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TextBox 5"/>
          <p:cNvSpPr txBox="1"/>
          <p:nvPr/>
        </p:nvSpPr>
        <p:spPr>
          <a:xfrm>
            <a:off x="7401272" y="6165305"/>
            <a:ext cx="2016224" cy="317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BE4EE7B6-BB4F-41A0-A4F6-0E619C9E6368}" type="datetime4">
              <a:rPr lang="en-GB" sz="1463" smtClean="0">
                <a:solidFill>
                  <a:srgbClr val="4CBBB7"/>
                </a:solidFill>
              </a:rPr>
              <a:t>02 November 2021</a:t>
            </a:fld>
            <a:endParaRPr lang="en-GB" sz="1463" dirty="0">
              <a:solidFill>
                <a:srgbClr val="4CBBB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6151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616" y="103439"/>
            <a:ext cx="6641943" cy="778098"/>
          </a:xfrm>
        </p:spPr>
        <p:txBody>
          <a:bodyPr anchor="ctr"/>
          <a:lstStyle>
            <a:lvl1pPr>
              <a:lnSpc>
                <a:spcPct val="100000"/>
              </a:lnSpc>
              <a:defRPr sz="16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i="1" dirty="0"/>
              <a:t>Subheading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297413" y="1194031"/>
            <a:ext cx="4376870" cy="639762"/>
          </a:xfrm>
        </p:spPr>
        <p:txBody>
          <a:bodyPr anchor="b"/>
          <a:lstStyle>
            <a:lvl1pPr marL="0" marR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50" b="1">
                <a:solidFill>
                  <a:srgbClr val="4CBBB7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47455" y="1210625"/>
            <a:ext cx="4378590" cy="639762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50" b="1">
                <a:solidFill>
                  <a:srgbClr val="4CBBB7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297413" y="1918897"/>
            <a:ext cx="4376870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950">
                <a:solidFill>
                  <a:schemeClr val="tx1"/>
                </a:solidFill>
              </a:defRPr>
            </a:lvl1pPr>
            <a:lvl2pPr marL="650081" indent="-278606" fontAlgn="base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Font typeface="Wingdings" panose="05000000000000000000" pitchFamily="2" charset="2"/>
              <a:buChar char="§"/>
              <a:tabLst>
                <a:tab pos="742950" algn="l"/>
              </a:tabLst>
              <a:defRPr sz="1625">
                <a:latin typeface="+mj-lt"/>
              </a:defRPr>
            </a:lvl2pPr>
            <a:lvl3pPr marL="928688" indent="-185738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SzPct val="60000"/>
              <a:buFont typeface="Wingdings" panose="05000000000000000000" pitchFamily="2" charset="2"/>
              <a:buChar char="q"/>
              <a:defRPr sz="1463"/>
            </a:lvl3pPr>
            <a:lvl4pPr marL="1300163" indent="-185738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Font typeface="Courier New" panose="02070309020205020404" pitchFamily="49" charset="0"/>
              <a:buChar char="o"/>
              <a:defRPr sz="1300"/>
            </a:lvl4pPr>
            <a:lvl5pPr marL="1718072" indent="-232172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Font typeface="Arial" panose="020B0604020202020204" pitchFamily="34" charset="0"/>
              <a:buChar char="•"/>
              <a:defRPr sz="1300"/>
            </a:lvl5pPr>
            <a:lvl6pPr marL="2089547" indent="-232172">
              <a:buFontTx/>
              <a:buBlip>
                <a:blip r:embed="rId2"/>
              </a:buBlip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sz="975" dirty="0">
              <a:effectLst/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4847455" y="1939826"/>
            <a:ext cx="4378590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950">
                <a:solidFill>
                  <a:schemeClr val="tx1"/>
                </a:solidFill>
              </a:defRPr>
            </a:lvl1pPr>
            <a:lvl2pPr marL="603647" indent="-232172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Wingdings" panose="05000000000000000000" pitchFamily="2" charset="2"/>
              <a:buChar char="§"/>
              <a:defRPr lang="en-US" sz="1625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2pPr>
            <a:lvl3pPr marL="928688" indent="-185738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SzPct val="60000"/>
              <a:buFont typeface="Wingdings" panose="05000000000000000000" pitchFamily="2" charset="2"/>
              <a:buChar char="q"/>
              <a:defRPr lang="en-US" sz="1463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3pPr>
            <a:lvl4pPr marL="1300163" indent="-185738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Courier New" panose="02070309020205020404" pitchFamily="49" charset="0"/>
              <a:buChar char="o"/>
              <a:defRPr lang="en-US" sz="1300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4pPr>
            <a:lvl5pPr marL="1671638" indent="-185738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5pPr>
            <a:lvl6pPr marL="2089547" indent="-232172">
              <a:buFontTx/>
              <a:buBlip>
                <a:blip r:embed="rId2"/>
              </a:buBlip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 bwMode="auto">
          <a:xfrm>
            <a:off x="0" y="-27384"/>
            <a:ext cx="9906000" cy="45719"/>
          </a:xfrm>
          <a:prstGeom prst="rect">
            <a:avLst/>
          </a:prstGeom>
          <a:solidFill>
            <a:srgbClr val="731A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42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63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5" name="Straight Connector 4"/>
          <p:cNvCxnSpPr/>
          <p:nvPr/>
        </p:nvCxnSpPr>
        <p:spPr bwMode="auto">
          <a:xfrm>
            <a:off x="0" y="908720"/>
            <a:ext cx="990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731A7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208" y="40392"/>
            <a:ext cx="1549958" cy="8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/>
          <p:cNvSpPr/>
          <p:nvPr/>
        </p:nvSpPr>
        <p:spPr bwMode="auto">
          <a:xfrm>
            <a:off x="44616" y="6244389"/>
            <a:ext cx="9906000" cy="72008"/>
          </a:xfrm>
          <a:prstGeom prst="rect">
            <a:avLst/>
          </a:prstGeom>
          <a:solidFill>
            <a:srgbClr val="8B2B7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42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63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44616" y="6177387"/>
            <a:ext cx="9906000" cy="46683"/>
          </a:xfrm>
          <a:prstGeom prst="rect">
            <a:avLst/>
          </a:prstGeom>
          <a:solidFill>
            <a:srgbClr val="4CBB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42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63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39895" y="6438981"/>
            <a:ext cx="9626211" cy="417487"/>
          </a:xfrm>
          <a:prstGeom prst="rect">
            <a:avLst/>
          </a:prstGeom>
          <a:noFill/>
        </p:spPr>
        <p:txBody>
          <a:bodyPr wrap="square" anchor="ctr" anchorCtr="0">
            <a:spAutoFit/>
          </a:bodyPr>
          <a:lstStyle/>
          <a:p>
            <a:pPr algn="ctr"/>
            <a:fld id="{2D7C80A6-A63C-9F45-88D3-880490AABCB7}" type="slidenum">
              <a:rPr lang="en-GB" sz="650" b="1" smtClean="0">
                <a:solidFill>
                  <a:srgbClr val="8B2B75"/>
                </a:solidFill>
              </a:rPr>
              <a:pPr algn="ctr"/>
              <a:t>‹#›</a:t>
            </a:fld>
            <a:endParaRPr lang="en-GB" sz="650" b="1" dirty="0">
              <a:solidFill>
                <a:srgbClr val="8B2B75"/>
              </a:solidFill>
            </a:endParaRPr>
          </a:p>
          <a:p>
            <a:pPr algn="ctr"/>
            <a:endParaRPr lang="en-US" sz="1463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70" t="10401" b="7466"/>
          <a:stretch/>
        </p:blipFill>
        <p:spPr>
          <a:xfrm>
            <a:off x="1770773" y="6379982"/>
            <a:ext cx="970532" cy="45649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8447" y="6372631"/>
            <a:ext cx="724008" cy="374269"/>
          </a:xfrm>
          <a:prstGeom prst="rect">
            <a:avLst/>
          </a:prstGeom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5165" y="6391852"/>
            <a:ext cx="828692" cy="41695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46773" y="6443086"/>
            <a:ext cx="1041209" cy="2939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33" t="10229" r="3220" b="25248"/>
          <a:stretch/>
        </p:blipFill>
        <p:spPr>
          <a:xfrm>
            <a:off x="5492470" y="6345269"/>
            <a:ext cx="997829" cy="42764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12" y="6469161"/>
            <a:ext cx="1275632" cy="262332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 bwMode="auto">
          <a:xfrm>
            <a:off x="0" y="-27384"/>
            <a:ext cx="9906000" cy="45719"/>
          </a:xfrm>
          <a:prstGeom prst="rect">
            <a:avLst/>
          </a:prstGeom>
          <a:solidFill>
            <a:srgbClr val="731A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22" name="Straight Connector 21"/>
          <p:cNvCxnSpPr/>
          <p:nvPr userDrawn="1"/>
        </p:nvCxnSpPr>
        <p:spPr bwMode="auto">
          <a:xfrm>
            <a:off x="0" y="894730"/>
            <a:ext cx="9906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B2B7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935298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616" y="103439"/>
            <a:ext cx="6641943" cy="778098"/>
          </a:xfrm>
        </p:spPr>
        <p:txBody>
          <a:bodyPr anchor="ctr"/>
          <a:lstStyle>
            <a:lvl1pPr>
              <a:lnSpc>
                <a:spcPct val="100000"/>
              </a:lnSpc>
              <a:defRPr sz="162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i="1" dirty="0"/>
              <a:t>Subheading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58975" y="1076064"/>
            <a:ext cx="8805507" cy="639762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50" b="1">
                <a:solidFill>
                  <a:srgbClr val="4CBBB7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297413" y="1939826"/>
            <a:ext cx="8928632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950">
                <a:solidFill>
                  <a:schemeClr val="tx1"/>
                </a:solidFill>
              </a:defRPr>
            </a:lvl1pPr>
            <a:lvl2pPr marL="603647" indent="-232172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Wingdings" panose="05000000000000000000" pitchFamily="2" charset="2"/>
              <a:buChar char="§"/>
              <a:defRPr lang="en-US" sz="1625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2pPr>
            <a:lvl3pPr marL="928688" indent="-185738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SzPct val="60000"/>
              <a:buFont typeface="Wingdings" panose="05000000000000000000" pitchFamily="2" charset="2"/>
              <a:buChar char="q"/>
              <a:defRPr lang="en-US" sz="1463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3pPr>
            <a:lvl4pPr marL="1300163" indent="-185738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Courier New" panose="02070309020205020404" pitchFamily="49" charset="0"/>
              <a:buChar char="o"/>
              <a:defRPr lang="en-US" sz="1300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4pPr>
            <a:lvl5pPr marL="1671638" indent="-185738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5pPr>
            <a:lvl6pPr marL="2089547" indent="-232172">
              <a:buFontTx/>
              <a:buBlip>
                <a:blip r:embed="rId2"/>
              </a:buBlip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0" y="-27384"/>
            <a:ext cx="9906000" cy="45719"/>
          </a:xfrm>
          <a:prstGeom prst="rect">
            <a:avLst/>
          </a:prstGeom>
          <a:solidFill>
            <a:srgbClr val="731A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42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63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5" name="Straight Connector 4"/>
          <p:cNvCxnSpPr/>
          <p:nvPr/>
        </p:nvCxnSpPr>
        <p:spPr bwMode="auto">
          <a:xfrm>
            <a:off x="0" y="908720"/>
            <a:ext cx="990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731A7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208" y="40392"/>
            <a:ext cx="1549958" cy="8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/>
          <p:cNvSpPr/>
          <p:nvPr/>
        </p:nvSpPr>
        <p:spPr bwMode="auto">
          <a:xfrm>
            <a:off x="44616" y="6244389"/>
            <a:ext cx="9906000" cy="72008"/>
          </a:xfrm>
          <a:prstGeom prst="rect">
            <a:avLst/>
          </a:prstGeom>
          <a:solidFill>
            <a:srgbClr val="8B2B7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42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63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44616" y="6177387"/>
            <a:ext cx="9906000" cy="46683"/>
          </a:xfrm>
          <a:prstGeom prst="rect">
            <a:avLst/>
          </a:prstGeom>
          <a:solidFill>
            <a:srgbClr val="4CBB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42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63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39895" y="6438981"/>
            <a:ext cx="9626211" cy="417487"/>
          </a:xfrm>
          <a:prstGeom prst="rect">
            <a:avLst/>
          </a:prstGeom>
          <a:noFill/>
        </p:spPr>
        <p:txBody>
          <a:bodyPr wrap="square" anchor="ctr" anchorCtr="0">
            <a:spAutoFit/>
          </a:bodyPr>
          <a:lstStyle/>
          <a:p>
            <a:pPr algn="ctr"/>
            <a:fld id="{2D7C80A6-A63C-9F45-88D3-880490AABCB7}" type="slidenum">
              <a:rPr lang="en-GB" sz="650" b="1" smtClean="0">
                <a:solidFill>
                  <a:srgbClr val="8B2B75"/>
                </a:solidFill>
              </a:rPr>
              <a:pPr algn="ctr"/>
              <a:t>‹#›</a:t>
            </a:fld>
            <a:endParaRPr lang="en-GB" sz="650" b="1" dirty="0">
              <a:solidFill>
                <a:srgbClr val="8B2B75"/>
              </a:solidFill>
            </a:endParaRPr>
          </a:p>
          <a:p>
            <a:pPr algn="ctr"/>
            <a:endParaRPr lang="en-US" sz="1463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70" t="10401" b="7466"/>
          <a:stretch/>
        </p:blipFill>
        <p:spPr>
          <a:xfrm>
            <a:off x="1770773" y="6379982"/>
            <a:ext cx="970532" cy="45649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8447" y="6372631"/>
            <a:ext cx="724008" cy="374269"/>
          </a:xfrm>
          <a:prstGeom prst="rect">
            <a:avLst/>
          </a:prstGeom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5165" y="6391852"/>
            <a:ext cx="828692" cy="41695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46773" y="6443086"/>
            <a:ext cx="1041209" cy="2939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33" t="10229" r="3220" b="25248"/>
          <a:stretch/>
        </p:blipFill>
        <p:spPr>
          <a:xfrm>
            <a:off x="5492470" y="6345269"/>
            <a:ext cx="997829" cy="42764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12" y="6469161"/>
            <a:ext cx="1275632" cy="26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022229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616" y="103439"/>
            <a:ext cx="6641943" cy="778098"/>
          </a:xfrm>
          <a:noFill/>
          <a:ln>
            <a:solidFill>
              <a:srgbClr val="8B2B75"/>
            </a:solidFill>
          </a:ln>
        </p:spPr>
        <p:txBody>
          <a:bodyPr anchor="ctr"/>
          <a:lstStyle>
            <a:lvl1pPr>
              <a:lnSpc>
                <a:spcPct val="100000"/>
              </a:lnSpc>
              <a:defRPr sz="1625">
                <a:solidFill>
                  <a:srgbClr val="8B2B7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i="1" dirty="0"/>
              <a:t>Subheading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58975" y="1076064"/>
            <a:ext cx="8805507" cy="639762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50" b="1">
                <a:solidFill>
                  <a:srgbClr val="4CBBB7"/>
                </a:solidFill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297413" y="1939826"/>
            <a:ext cx="8928632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950">
                <a:solidFill>
                  <a:schemeClr val="tx1"/>
                </a:solidFill>
              </a:defRPr>
            </a:lvl1pPr>
            <a:lvl2pPr marL="603647" indent="-232172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Wingdings" panose="05000000000000000000" pitchFamily="2" charset="2"/>
              <a:buChar char="§"/>
              <a:defRPr lang="en-US" sz="1625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2pPr>
            <a:lvl3pPr marL="928688" indent="-185738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SzPct val="60000"/>
              <a:buFont typeface="Wingdings" panose="05000000000000000000" pitchFamily="2" charset="2"/>
              <a:buChar char="q"/>
              <a:defRPr lang="en-US" sz="1463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3pPr>
            <a:lvl4pPr marL="1300163" indent="-185738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Courier New" panose="02070309020205020404" pitchFamily="49" charset="0"/>
              <a:buChar char="o"/>
              <a:defRPr lang="en-US" sz="1300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4pPr>
            <a:lvl5pPr marL="1671638" indent="-185738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Arial" panose="020B0604020202020204" pitchFamily="34" charset="0"/>
              <a:buChar char="•"/>
              <a:defRPr lang="en-US" sz="1300" dirty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5pPr>
            <a:lvl6pPr marL="2089547" indent="-232172">
              <a:buFontTx/>
              <a:buBlip>
                <a:blip r:embed="rId2"/>
              </a:buBlip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0" y="-27384"/>
            <a:ext cx="9906000" cy="45719"/>
          </a:xfrm>
          <a:prstGeom prst="rect">
            <a:avLst/>
          </a:prstGeom>
          <a:solidFill>
            <a:srgbClr val="731A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42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63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5" name="Straight Connector 4"/>
          <p:cNvCxnSpPr/>
          <p:nvPr/>
        </p:nvCxnSpPr>
        <p:spPr bwMode="auto">
          <a:xfrm>
            <a:off x="0" y="908720"/>
            <a:ext cx="9906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31A7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208" y="40392"/>
            <a:ext cx="1549958" cy="8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/>
          <p:cNvSpPr/>
          <p:nvPr/>
        </p:nvSpPr>
        <p:spPr bwMode="auto">
          <a:xfrm>
            <a:off x="44616" y="6244389"/>
            <a:ext cx="9906000" cy="72008"/>
          </a:xfrm>
          <a:prstGeom prst="rect">
            <a:avLst/>
          </a:prstGeom>
          <a:solidFill>
            <a:srgbClr val="8B2B7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42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63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44616" y="6177387"/>
            <a:ext cx="9906000" cy="46683"/>
          </a:xfrm>
          <a:prstGeom prst="rect">
            <a:avLst/>
          </a:prstGeom>
          <a:solidFill>
            <a:srgbClr val="4CBB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7429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63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39895" y="6438981"/>
            <a:ext cx="9626211" cy="417487"/>
          </a:xfrm>
          <a:prstGeom prst="rect">
            <a:avLst/>
          </a:prstGeom>
          <a:noFill/>
        </p:spPr>
        <p:txBody>
          <a:bodyPr wrap="square" anchor="ctr" anchorCtr="0">
            <a:spAutoFit/>
          </a:bodyPr>
          <a:lstStyle/>
          <a:p>
            <a:pPr algn="ctr"/>
            <a:fld id="{2D7C80A6-A63C-9F45-88D3-880490AABCB7}" type="slidenum">
              <a:rPr lang="en-GB" sz="650" b="1" smtClean="0">
                <a:solidFill>
                  <a:srgbClr val="8B2B75"/>
                </a:solidFill>
              </a:rPr>
              <a:pPr algn="ctr"/>
              <a:t>‹#›</a:t>
            </a:fld>
            <a:endParaRPr lang="en-GB" sz="650" b="1" dirty="0">
              <a:solidFill>
                <a:srgbClr val="8B2B75"/>
              </a:solidFill>
            </a:endParaRPr>
          </a:p>
          <a:p>
            <a:pPr algn="ctr"/>
            <a:endParaRPr lang="en-US" sz="1463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70" t="10401" b="7466"/>
          <a:stretch/>
        </p:blipFill>
        <p:spPr>
          <a:xfrm>
            <a:off x="1770773" y="6379982"/>
            <a:ext cx="970532" cy="45649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8447" y="6372631"/>
            <a:ext cx="724008" cy="374269"/>
          </a:xfrm>
          <a:prstGeom prst="rect">
            <a:avLst/>
          </a:prstGeom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5165" y="6391852"/>
            <a:ext cx="828692" cy="41695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46773" y="6443086"/>
            <a:ext cx="1041209" cy="2939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33" t="10229" r="3220" b="25248"/>
          <a:stretch/>
        </p:blipFill>
        <p:spPr>
          <a:xfrm>
            <a:off x="5492470" y="6345269"/>
            <a:ext cx="997829" cy="42764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12" y="6469161"/>
            <a:ext cx="1275632" cy="26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769376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2290" y="1925015"/>
            <a:ext cx="5980153" cy="24572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0319291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 bwMode="auto">
          <a:xfrm>
            <a:off x="460193" y="908720"/>
            <a:ext cx="9001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8B2B7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8504" y="1535113"/>
            <a:ext cx="8922197" cy="639762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488504" y="2174875"/>
            <a:ext cx="8922197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950">
                <a:solidFill>
                  <a:schemeClr val="tx1"/>
                </a:solidFill>
              </a:defRPr>
            </a:lvl1pPr>
            <a:lvl2pPr marL="603647" indent="-232172" fontAlgn="base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742950" algn="l"/>
              </a:tabLst>
              <a:defRPr lang="en-US" sz="1625" dirty="0" smtClean="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0"/>
              </a:defRPr>
            </a:lvl2pPr>
            <a:lvl3pPr marL="928688" indent="-185738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lang="en-US" sz="1463" dirty="0" smtClean="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0"/>
              </a:defRPr>
            </a:lvl3pPr>
            <a:lvl4pPr marL="1300163" indent="-185738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300"/>
            </a:lvl4pPr>
            <a:lvl5pPr marL="1671638" indent="-185738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sz="975" dirty="0">
              <a:effectLst/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95308" y="116632"/>
            <a:ext cx="6905965" cy="778098"/>
          </a:xfrm>
          <a:noFill/>
        </p:spPr>
        <p:txBody>
          <a:bodyPr anchor="ctr"/>
          <a:lstStyle>
            <a:lvl1pPr>
              <a:lnSpc>
                <a:spcPct val="100000"/>
              </a:lnSpc>
              <a:defRPr sz="1463">
                <a:solidFill>
                  <a:srgbClr val="8B2B7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3400" y="49221"/>
            <a:ext cx="1201275" cy="632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480596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04645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95307" y="116632"/>
            <a:ext cx="6641943" cy="778098"/>
          </a:xfrm>
        </p:spPr>
        <p:txBody>
          <a:bodyPr anchor="ctr"/>
          <a:lstStyle>
            <a:lvl1pPr>
              <a:lnSpc>
                <a:spcPct val="100000"/>
              </a:lnSpc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7262" y="1052736"/>
            <a:ext cx="990685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B2B7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0467581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7" y="116632"/>
            <a:ext cx="6641943" cy="778098"/>
          </a:xfrm>
        </p:spPr>
        <p:txBody>
          <a:bodyPr anchor="ctr"/>
          <a:lstStyle>
            <a:lvl1pPr>
              <a:lnSpc>
                <a:spcPct val="100000"/>
              </a:lnSpc>
              <a:defRPr sz="2000">
                <a:solidFill>
                  <a:srgbClr val="8B2B7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i="1" dirty="0"/>
              <a:t>Subheading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297412" y="1194031"/>
            <a:ext cx="4376870" cy="639762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>
                <a:solidFill>
                  <a:srgbClr val="4CBBB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47455" y="1210625"/>
            <a:ext cx="4378590" cy="639762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rgbClr val="4CBBB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297412" y="1918897"/>
            <a:ext cx="4376870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solidFill>
                  <a:schemeClr val="tx1"/>
                </a:solidFill>
              </a:defRPr>
            </a:lvl1pPr>
            <a:lvl2pPr marL="800100" indent="-342900" fontAlgn="base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Font typeface="Wingdings" panose="05000000000000000000" pitchFamily="2" charset="2"/>
              <a:buChar char="§"/>
              <a:tabLst>
                <a:tab pos="914400" algn="l"/>
              </a:tabLst>
              <a:defRPr sz="2000">
                <a:latin typeface="+mj-lt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SzPct val="60000"/>
              <a:buFont typeface="Wingdings" panose="05000000000000000000" pitchFamily="2" charset="2"/>
              <a:buChar char="q"/>
              <a:defRPr sz="1800"/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Font typeface="Courier New" panose="02070309020205020404" pitchFamily="49" charset="0"/>
              <a:buChar char="o"/>
              <a:defRPr sz="1600"/>
            </a:lvl4pPr>
            <a:lvl5pPr marL="2114550" indent="-285750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Font typeface="Arial" panose="020B0604020202020204" pitchFamily="34" charset="0"/>
              <a:buChar char="•"/>
              <a:defRPr sz="1600"/>
            </a:lvl5pPr>
            <a:lvl6pPr marL="2571750" indent="-285750">
              <a:buFontTx/>
              <a:buBlip>
                <a:blip r:embed="rId2"/>
              </a:buBlip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sz="1200" dirty="0">
              <a:effectLst/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4847455" y="1920167"/>
            <a:ext cx="4378590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solidFill>
                  <a:schemeClr val="tx1"/>
                </a:solidFill>
              </a:defRPr>
            </a:lvl1pPr>
            <a:lvl2pPr marL="742950" indent="-2857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Wingdings" panose="05000000000000000000" pitchFamily="2" charset="2"/>
              <a:buChar char="§"/>
              <a:defRPr lang="en-US" sz="2000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2pPr>
            <a:lvl3pPr marL="1143000" indent="-2286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SzPct val="60000"/>
              <a:buFont typeface="Wingdings" panose="05000000000000000000" pitchFamily="2" charset="2"/>
              <a:buChar char="q"/>
              <a:defRPr lang="en-US" sz="1800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3pPr>
            <a:lvl4pPr marL="1600200" indent="-2286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Courier New" panose="02070309020205020404" pitchFamily="49" charset="0"/>
              <a:buChar char="o"/>
              <a:defRPr lang="en-US" sz="1600" dirty="0" smtClean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4pPr>
            <a:lvl5pPr marL="2057400" indent="-2286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B2B75"/>
              </a:buClr>
              <a:buFont typeface="Arial" panose="020B0604020202020204" pitchFamily="34" charset="0"/>
              <a:buChar char="•"/>
              <a:defRPr lang="en-US" sz="1600" dirty="0">
                <a:solidFill>
                  <a:schemeClr val="tx1"/>
                </a:solidFill>
                <a:latin typeface="+mj-lt"/>
                <a:ea typeface="ヒラギノ角ゴ Pro W3" charset="-128"/>
                <a:cs typeface="ヒラギノ角ゴ Pro W3" charset="0"/>
              </a:defRPr>
            </a:lvl5pPr>
            <a:lvl6pPr marL="2571750" indent="-285750">
              <a:buFontTx/>
              <a:buBlip>
                <a:blip r:embed="rId2"/>
              </a:buBlip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0" y="-27384"/>
            <a:ext cx="9906000" cy="45719"/>
          </a:xfrm>
          <a:prstGeom prst="rect">
            <a:avLst/>
          </a:prstGeom>
          <a:solidFill>
            <a:srgbClr val="731A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5408" y="60092"/>
            <a:ext cx="1201275" cy="632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/>
          <p:cNvSpPr/>
          <p:nvPr/>
        </p:nvSpPr>
        <p:spPr bwMode="auto">
          <a:xfrm>
            <a:off x="44616" y="6244389"/>
            <a:ext cx="9906000" cy="72008"/>
          </a:xfrm>
          <a:prstGeom prst="rect">
            <a:avLst/>
          </a:prstGeom>
          <a:solidFill>
            <a:srgbClr val="8B2B7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44616" y="6177385"/>
            <a:ext cx="9906000" cy="46683"/>
          </a:xfrm>
          <a:prstGeom prst="rect">
            <a:avLst/>
          </a:prstGeom>
          <a:solidFill>
            <a:srgbClr val="4CBB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39894" y="6401501"/>
            <a:ext cx="9626211" cy="492443"/>
          </a:xfrm>
          <a:prstGeom prst="rect">
            <a:avLst/>
          </a:prstGeom>
          <a:noFill/>
        </p:spPr>
        <p:txBody>
          <a:bodyPr wrap="square" anchor="ctr" anchorCtr="0">
            <a:spAutoFit/>
          </a:bodyPr>
          <a:lstStyle/>
          <a:p>
            <a:pPr algn="ctr"/>
            <a:fld id="{2D7C80A6-A63C-9F45-88D3-880490AABCB7}" type="slidenum">
              <a:rPr lang="en-GB" sz="800" b="1" smtClean="0">
                <a:solidFill>
                  <a:srgbClr val="8B2B75"/>
                </a:solidFill>
              </a:rPr>
              <a:pPr algn="ctr"/>
              <a:t>‹#›</a:t>
            </a:fld>
            <a:endParaRPr lang="en-GB" sz="800" b="1" dirty="0">
              <a:solidFill>
                <a:srgbClr val="8B2B75"/>
              </a:solidFill>
            </a:endParaRPr>
          </a:p>
          <a:p>
            <a:pPr algn="ctr"/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70" t="10401" b="7466"/>
          <a:stretch/>
        </p:blipFill>
        <p:spPr>
          <a:xfrm>
            <a:off x="5956821" y="6392070"/>
            <a:ext cx="579990" cy="32117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24" y="6392070"/>
            <a:ext cx="521542" cy="269606"/>
          </a:xfrm>
          <a:prstGeom prst="rect">
            <a:avLst/>
          </a:prstGeom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5936" y="6375024"/>
            <a:ext cx="641953" cy="32299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59987" y="6408533"/>
            <a:ext cx="846670" cy="23898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33" t="10229" r="3220" b="25248"/>
          <a:stretch/>
        </p:blipFill>
        <p:spPr>
          <a:xfrm>
            <a:off x="7204369" y="6392070"/>
            <a:ext cx="708748" cy="303750"/>
          </a:xfrm>
          <a:prstGeom prst="rect">
            <a:avLst/>
          </a:prstGeom>
        </p:spPr>
      </p:pic>
      <p:pic>
        <p:nvPicPr>
          <p:cNvPr id="20" name="Picture 19"/>
          <p:cNvPicPr/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79" t="25000" r="56184" b="16304"/>
          <a:stretch/>
        </p:blipFill>
        <p:spPr bwMode="auto">
          <a:xfrm>
            <a:off x="5153850" y="6375024"/>
            <a:ext cx="742676" cy="35204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3" name="Rectangle 22"/>
          <p:cNvSpPr/>
          <p:nvPr userDrawn="1"/>
        </p:nvSpPr>
        <p:spPr bwMode="auto">
          <a:xfrm>
            <a:off x="0" y="-27384"/>
            <a:ext cx="9906000" cy="45719"/>
          </a:xfrm>
          <a:prstGeom prst="rect">
            <a:avLst/>
          </a:prstGeom>
          <a:solidFill>
            <a:srgbClr val="731A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24" name="Straight Connector 23"/>
          <p:cNvCxnSpPr/>
          <p:nvPr userDrawn="1"/>
        </p:nvCxnSpPr>
        <p:spPr bwMode="auto">
          <a:xfrm>
            <a:off x="0" y="894730"/>
            <a:ext cx="9906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B2B7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617496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5" y="5"/>
            <a:ext cx="9905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37106" y="2057118"/>
            <a:ext cx="8420025" cy="914111"/>
          </a:xfrm>
        </p:spPr>
        <p:txBody>
          <a:bodyPr anchor="t"/>
          <a:lstStyle>
            <a:lvl1pPr>
              <a:defRPr sz="3300">
                <a:solidFill>
                  <a:srgbClr val="7014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742989" y="2971234"/>
            <a:ext cx="8408255" cy="1751929"/>
          </a:xfrm>
        </p:spPr>
        <p:txBody>
          <a:bodyPr/>
          <a:lstStyle>
            <a:lvl1pPr marL="0" indent="0" eaLnBrk="0" hangingPunct="0">
              <a:buFontTx/>
              <a:buNone/>
              <a:defRPr sz="1650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04213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495868" y="-31736"/>
            <a:ext cx="891437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495868" y="1143613"/>
            <a:ext cx="8914370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38911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1755"/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681755"/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20979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714" y="4406505"/>
            <a:ext cx="8420026" cy="1361811"/>
          </a:xfrm>
        </p:spPr>
        <p:txBody>
          <a:bodyPr anchor="t"/>
          <a:lstStyle>
            <a:lvl1pPr algn="l">
              <a:defRPr sz="2625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714" y="2906445"/>
            <a:ext cx="8420026" cy="1500008"/>
          </a:xfrm>
        </p:spPr>
        <p:txBody>
          <a:bodyPr anchor="b"/>
          <a:lstStyle>
            <a:lvl1pPr marL="0" indent="0">
              <a:buNone/>
              <a:defRPr sz="1425"/>
            </a:lvl1pPr>
            <a:lvl2pPr marL="298799" indent="0">
              <a:buNone/>
              <a:defRPr sz="1200"/>
            </a:lvl2pPr>
            <a:lvl3pPr marL="597620" indent="0">
              <a:buNone/>
              <a:defRPr sz="1050"/>
            </a:lvl3pPr>
            <a:lvl4pPr marL="896431" indent="0">
              <a:buNone/>
              <a:defRPr sz="900"/>
            </a:lvl4pPr>
            <a:lvl5pPr marL="1195242" indent="0">
              <a:buNone/>
              <a:defRPr sz="900"/>
            </a:lvl5pPr>
            <a:lvl6pPr marL="1494056" indent="0">
              <a:buNone/>
              <a:defRPr sz="900"/>
            </a:lvl6pPr>
            <a:lvl7pPr marL="1792867" indent="0">
              <a:buNone/>
              <a:defRPr sz="900"/>
            </a:lvl7pPr>
            <a:lvl8pPr marL="2091681" indent="0">
              <a:buNone/>
              <a:defRPr sz="900"/>
            </a:lvl8pPr>
            <a:lvl9pPr marL="239049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05277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868" y="1600784"/>
            <a:ext cx="4385828" cy="4048005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2939" y="1600784"/>
            <a:ext cx="4387300" cy="4048005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36217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820" y="1534561"/>
            <a:ext cx="4377001" cy="640599"/>
          </a:xfrm>
        </p:spPr>
        <p:txBody>
          <a:bodyPr anchor="b"/>
          <a:lstStyle>
            <a:lvl1pPr marL="0" indent="0">
              <a:buNone/>
              <a:defRPr sz="1575" b="1"/>
            </a:lvl1pPr>
            <a:lvl2pPr marL="298799" indent="0">
              <a:buNone/>
              <a:defRPr sz="1425" b="1"/>
            </a:lvl2pPr>
            <a:lvl3pPr marL="597620" indent="0">
              <a:buNone/>
              <a:defRPr sz="1200" b="1"/>
            </a:lvl3pPr>
            <a:lvl4pPr marL="896431" indent="0">
              <a:buNone/>
              <a:defRPr sz="1050" b="1"/>
            </a:lvl4pPr>
            <a:lvl5pPr marL="1195242" indent="0">
              <a:buNone/>
              <a:defRPr sz="1050" b="1"/>
            </a:lvl5pPr>
            <a:lvl6pPr marL="1494056" indent="0">
              <a:buNone/>
              <a:defRPr sz="1050" b="1"/>
            </a:lvl6pPr>
            <a:lvl7pPr marL="1792867" indent="0">
              <a:buNone/>
              <a:defRPr sz="1050" b="1"/>
            </a:lvl7pPr>
            <a:lvl8pPr marL="2091681" indent="0">
              <a:buNone/>
              <a:defRPr sz="1050" b="1"/>
            </a:lvl8pPr>
            <a:lvl9pPr marL="2390492" indent="0">
              <a:buNone/>
              <a:defRPr sz="105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820" y="2175208"/>
            <a:ext cx="4377001" cy="3951555"/>
          </a:xfrm>
        </p:spPr>
        <p:txBody>
          <a:bodyPr/>
          <a:lstStyle>
            <a:lvl1pPr>
              <a:defRPr sz="1575"/>
            </a:lvl1pPr>
            <a:lvl2pPr>
              <a:defRPr sz="1425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1713" y="1534561"/>
            <a:ext cx="4378473" cy="640599"/>
          </a:xfrm>
        </p:spPr>
        <p:txBody>
          <a:bodyPr anchor="b"/>
          <a:lstStyle>
            <a:lvl1pPr marL="0" indent="0">
              <a:buNone/>
              <a:defRPr sz="1575" b="1"/>
            </a:lvl1pPr>
            <a:lvl2pPr marL="298799" indent="0">
              <a:buNone/>
              <a:defRPr sz="1425" b="1"/>
            </a:lvl2pPr>
            <a:lvl3pPr marL="597620" indent="0">
              <a:buNone/>
              <a:defRPr sz="1200" b="1"/>
            </a:lvl3pPr>
            <a:lvl4pPr marL="896431" indent="0">
              <a:buNone/>
              <a:defRPr sz="1050" b="1"/>
            </a:lvl4pPr>
            <a:lvl5pPr marL="1195242" indent="0">
              <a:buNone/>
              <a:defRPr sz="1050" b="1"/>
            </a:lvl5pPr>
            <a:lvl6pPr marL="1494056" indent="0">
              <a:buNone/>
              <a:defRPr sz="1050" b="1"/>
            </a:lvl6pPr>
            <a:lvl7pPr marL="1792867" indent="0">
              <a:buNone/>
              <a:defRPr sz="1050" b="1"/>
            </a:lvl7pPr>
            <a:lvl8pPr marL="2091681" indent="0">
              <a:buNone/>
              <a:defRPr sz="1050" b="1"/>
            </a:lvl8pPr>
            <a:lvl9pPr marL="2390492" indent="0">
              <a:buNone/>
              <a:defRPr sz="105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1713" y="2175208"/>
            <a:ext cx="4378473" cy="3951555"/>
          </a:xfrm>
        </p:spPr>
        <p:txBody>
          <a:bodyPr/>
          <a:lstStyle>
            <a:lvl1pPr>
              <a:defRPr sz="1575"/>
            </a:lvl1pPr>
            <a:lvl2pPr>
              <a:defRPr sz="1425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86685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28870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58867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17" y="273561"/>
            <a:ext cx="3258842" cy="1161714"/>
          </a:xfrm>
        </p:spPr>
        <p:txBody>
          <a:bodyPr anchor="b"/>
          <a:lstStyle>
            <a:lvl1pPr algn="l">
              <a:defRPr sz="1425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363" y="273516"/>
            <a:ext cx="5537826" cy="5853196"/>
          </a:xfrm>
        </p:spPr>
        <p:txBody>
          <a:bodyPr/>
          <a:lstStyle>
            <a:lvl1pPr>
              <a:defRPr sz="2100"/>
            </a:lvl1pPr>
            <a:lvl2pPr>
              <a:defRPr sz="1950"/>
            </a:lvl2pPr>
            <a:lvl3pPr>
              <a:defRPr sz="1575"/>
            </a:lvl3pPr>
            <a:lvl4pPr>
              <a:defRPr sz="1425"/>
            </a:lvl4pPr>
            <a:lvl5pPr>
              <a:defRPr sz="1425"/>
            </a:lvl5pPr>
            <a:lvl6pPr>
              <a:defRPr sz="1425"/>
            </a:lvl6pPr>
            <a:lvl7pPr>
              <a:defRPr sz="1425"/>
            </a:lvl7pPr>
            <a:lvl8pPr>
              <a:defRPr sz="1425"/>
            </a:lvl8pPr>
            <a:lvl9pPr>
              <a:defRPr sz="14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17" y="1435230"/>
            <a:ext cx="3258842" cy="4691482"/>
          </a:xfrm>
        </p:spPr>
        <p:txBody>
          <a:bodyPr/>
          <a:lstStyle>
            <a:lvl1pPr marL="0" indent="0">
              <a:buNone/>
              <a:defRPr sz="900"/>
            </a:lvl1pPr>
            <a:lvl2pPr marL="298799" indent="0">
              <a:buNone/>
              <a:defRPr sz="825"/>
            </a:lvl2pPr>
            <a:lvl3pPr marL="597620" indent="0">
              <a:buNone/>
              <a:defRPr sz="675"/>
            </a:lvl3pPr>
            <a:lvl4pPr marL="896431" indent="0">
              <a:buNone/>
              <a:defRPr sz="600"/>
            </a:lvl4pPr>
            <a:lvl5pPr marL="1195242" indent="0">
              <a:buNone/>
              <a:defRPr sz="600"/>
            </a:lvl5pPr>
            <a:lvl6pPr marL="1494056" indent="0">
              <a:buNone/>
              <a:defRPr sz="600"/>
            </a:lvl6pPr>
            <a:lvl7pPr marL="1792867" indent="0">
              <a:buNone/>
              <a:defRPr sz="600"/>
            </a:lvl7pPr>
            <a:lvl8pPr marL="2091681" indent="0">
              <a:buNone/>
              <a:defRPr sz="600"/>
            </a:lvl8pPr>
            <a:lvl9pPr marL="239049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65627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2070" y="4800940"/>
            <a:ext cx="5943894" cy="565741"/>
          </a:xfrm>
        </p:spPr>
        <p:txBody>
          <a:bodyPr anchor="b"/>
          <a:lstStyle>
            <a:lvl1pPr algn="l">
              <a:defRPr sz="1425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2070" y="613247"/>
            <a:ext cx="5943894" cy="4114224"/>
          </a:xfrm>
        </p:spPr>
        <p:txBody>
          <a:bodyPr/>
          <a:lstStyle>
            <a:lvl1pPr marL="0" indent="0">
              <a:buNone/>
              <a:defRPr sz="2100"/>
            </a:lvl1pPr>
            <a:lvl2pPr marL="298799" indent="0">
              <a:buNone/>
              <a:defRPr sz="1950"/>
            </a:lvl2pPr>
            <a:lvl3pPr marL="597620" indent="0">
              <a:buNone/>
              <a:defRPr sz="1575"/>
            </a:lvl3pPr>
            <a:lvl4pPr marL="896431" indent="0">
              <a:buNone/>
              <a:defRPr sz="1425"/>
            </a:lvl4pPr>
            <a:lvl5pPr marL="1195242" indent="0">
              <a:buNone/>
              <a:defRPr sz="1425"/>
            </a:lvl5pPr>
            <a:lvl6pPr marL="1494056" indent="0">
              <a:buNone/>
              <a:defRPr sz="1425"/>
            </a:lvl6pPr>
            <a:lvl7pPr marL="1792867" indent="0">
              <a:buNone/>
              <a:defRPr sz="1425"/>
            </a:lvl7pPr>
            <a:lvl8pPr marL="2091681" indent="0">
              <a:buNone/>
              <a:defRPr sz="1425"/>
            </a:lvl8pPr>
            <a:lvl9pPr marL="2390492" indent="0">
              <a:buNone/>
              <a:defRPr sz="1425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2070" y="5366630"/>
            <a:ext cx="5943894" cy="806146"/>
          </a:xfrm>
        </p:spPr>
        <p:txBody>
          <a:bodyPr/>
          <a:lstStyle>
            <a:lvl1pPr marL="0" indent="0">
              <a:buNone/>
              <a:defRPr sz="900"/>
            </a:lvl1pPr>
            <a:lvl2pPr marL="298799" indent="0">
              <a:buNone/>
              <a:defRPr sz="825"/>
            </a:lvl2pPr>
            <a:lvl3pPr marL="597620" indent="0">
              <a:buNone/>
              <a:defRPr sz="675"/>
            </a:lvl3pPr>
            <a:lvl4pPr marL="896431" indent="0">
              <a:buNone/>
              <a:defRPr sz="600"/>
            </a:lvl4pPr>
            <a:lvl5pPr marL="1195242" indent="0">
              <a:buNone/>
              <a:defRPr sz="600"/>
            </a:lvl5pPr>
            <a:lvl6pPr marL="1494056" indent="0">
              <a:buNone/>
              <a:defRPr sz="600"/>
            </a:lvl6pPr>
            <a:lvl7pPr marL="1792867" indent="0">
              <a:buNone/>
              <a:defRPr sz="600"/>
            </a:lvl7pPr>
            <a:lvl8pPr marL="2091681" indent="0">
              <a:buNone/>
              <a:defRPr sz="600"/>
            </a:lvl8pPr>
            <a:lvl9pPr marL="239049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7406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02340" y="1459493"/>
            <a:ext cx="9116705" cy="639762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 bwMode="auto">
          <a:xfrm>
            <a:off x="7262" y="913796"/>
            <a:ext cx="990685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B2B7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 13"/>
          <p:cNvSpPr/>
          <p:nvPr/>
        </p:nvSpPr>
        <p:spPr>
          <a:xfrm>
            <a:off x="0" y="6527606"/>
            <a:ext cx="9906000" cy="2160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fld id="{2D7C80A6-A63C-9F45-88D3-880490AABCB7}" type="slidenum">
              <a:rPr lang="en-GB" sz="800">
                <a:solidFill>
                  <a:srgbClr val="8B2B75"/>
                </a:solidFill>
              </a:rPr>
              <a:pPr algn="ctr"/>
              <a:t>‹#›</a:t>
            </a:fld>
            <a:endParaRPr lang="en-US" dirty="0">
              <a:solidFill>
                <a:srgbClr val="8B2B75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95307" y="116632"/>
            <a:ext cx="6641943" cy="778098"/>
          </a:xfrm>
        </p:spPr>
        <p:txBody>
          <a:bodyPr anchor="ctr"/>
          <a:lstStyle>
            <a:lvl1pPr>
              <a:lnSpc>
                <a:spcPct val="100000"/>
              </a:lnSpc>
              <a:defRPr sz="1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02340" y="2181462"/>
            <a:ext cx="9116705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solidFill>
                  <a:schemeClr val="tx1"/>
                </a:solidFill>
              </a:defRPr>
            </a:lvl1pPr>
            <a:lvl2pPr marL="800100" indent="-342900" fontAlgn="base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Font typeface="Wingdings" panose="05000000000000000000" pitchFamily="2" charset="2"/>
              <a:buChar char="§"/>
              <a:tabLst>
                <a:tab pos="914400" algn="l"/>
              </a:tabLst>
              <a:defRPr sz="2000">
                <a:latin typeface="+mj-lt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SzPct val="60000"/>
              <a:buFont typeface="Wingdings" panose="05000000000000000000" pitchFamily="2" charset="2"/>
              <a:buChar char="q"/>
              <a:defRPr sz="1800"/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Font typeface="Courier New" panose="02070309020205020404" pitchFamily="49" charset="0"/>
              <a:buChar char="o"/>
              <a:defRPr sz="1600"/>
            </a:lvl4pPr>
            <a:lvl5pPr marL="2114550" indent="-285750">
              <a:lnSpc>
                <a:spcPct val="100000"/>
              </a:lnSpc>
              <a:spcAft>
                <a:spcPts val="0"/>
              </a:spcAft>
              <a:buClr>
                <a:srgbClr val="8B2B75"/>
              </a:buClr>
              <a:buFont typeface="Arial" panose="020B0604020202020204" pitchFamily="34" charset="0"/>
              <a:buChar char="•"/>
              <a:defRPr sz="1600"/>
            </a:lvl5pPr>
            <a:lvl6pPr marL="2571750" indent="-285750">
              <a:buFontTx/>
              <a:buBlip>
                <a:blip r:embed="rId2"/>
              </a:buBlip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sz="1200" dirty="0">
              <a:effectLst/>
              <a:latin typeface="Times New Roman"/>
              <a:ea typeface="Times New Roman"/>
              <a:cs typeface="Times New Roman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859" y="6359458"/>
            <a:ext cx="9906859" cy="7315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2" y="6291974"/>
            <a:ext cx="9906859" cy="4877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1032" y="6451328"/>
            <a:ext cx="743776" cy="35359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88326" y="6494075"/>
            <a:ext cx="579170" cy="31701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10515" y="6503220"/>
            <a:ext cx="524301" cy="26824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33" t="10229" r="3220" b="25248"/>
          <a:stretch/>
        </p:blipFill>
        <p:spPr>
          <a:xfrm>
            <a:off x="7297525" y="6499970"/>
            <a:ext cx="708748" cy="3037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56666" y="6487978"/>
            <a:ext cx="640135" cy="32311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67264" y="6527606"/>
            <a:ext cx="847417" cy="243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2946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1143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2701" y="275003"/>
            <a:ext cx="2227489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822" y="275003"/>
            <a:ext cx="6545640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830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-97034"/>
            <a:ext cx="9084680" cy="1143000"/>
          </a:xfrm>
          <a:prstGeom prst="rect">
            <a:avLst/>
          </a:prstGeom>
        </p:spPr>
        <p:txBody>
          <a:bodyPr/>
          <a:lstStyle>
            <a:lvl1pPr>
              <a:defRPr sz="2325"/>
            </a:lvl1pPr>
          </a:lstStyle>
          <a:p>
            <a:r>
              <a:rPr lang="en-US" dirty="0"/>
              <a:t>#. Click to edit Master title style</a:t>
            </a:r>
            <a:br>
              <a:rPr lang="en-US" dirty="0"/>
            </a:br>
            <a:endParaRPr lang="en-GB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18" y="1078316"/>
            <a:ext cx="9065132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08557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41"/>
            <a:ext cx="89154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95301" y="1600250"/>
            <a:ext cx="437515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1" y="1600250"/>
            <a:ext cx="437515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95304" y="6245225"/>
            <a:ext cx="2311401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681755">
              <a:defRPr/>
            </a:pPr>
            <a:endParaRPr lang="en-GB" sz="1425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4" y="6245225"/>
            <a:ext cx="3136900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681755">
              <a:defRPr/>
            </a:pPr>
            <a:r>
              <a:rPr lang="en-GB" sz="1425" smtClean="0">
                <a:solidFill>
                  <a:prstClr val="black"/>
                </a:solidFill>
                <a:ea typeface="ＭＳ Ｐゴシック" pitchFamily="34" charset="-128"/>
              </a:rPr>
              <a:t>Page</a:t>
            </a:r>
            <a:endParaRPr lang="en-GB" sz="1425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0B953-DB9E-429E-A914-90D8BCF42545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1787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4" name="Shape 554"/>
          <p:cNvSpPr txBox="1">
            <a:spLocks noGrp="1"/>
          </p:cNvSpPr>
          <p:nvPr>
            <p:ph type="title"/>
          </p:nvPr>
        </p:nvSpPr>
        <p:spPr>
          <a:xfrm>
            <a:off x="337675" y="593367"/>
            <a:ext cx="923065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5" name="Shape 555"/>
          <p:cNvSpPr txBox="1">
            <a:spLocks noGrp="1"/>
          </p:cNvSpPr>
          <p:nvPr>
            <p:ph type="body" idx="1"/>
          </p:nvPr>
        </p:nvSpPr>
        <p:spPr>
          <a:xfrm>
            <a:off x="337675" y="1536633"/>
            <a:ext cx="923065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342900" lvl="0" indent="-238125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685800" lvl="1" indent="-238125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028700" lvl="2" indent="-238125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371600" lvl="3" indent="-238125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1714500" lvl="4" indent="-238125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057400" lvl="5" indent="-238125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2400300" lvl="6" indent="-238125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2743200" lvl="7" indent="-238125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3086100" lvl="8" indent="-238125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6" name="Shape 556"/>
          <p:cNvSpPr txBox="1">
            <a:spLocks noGrp="1"/>
          </p:cNvSpPr>
          <p:nvPr>
            <p:ph type="sldNum" idx="12"/>
          </p:nvPr>
        </p:nvSpPr>
        <p:spPr>
          <a:xfrm>
            <a:off x="9178496" y="6217623"/>
            <a:ext cx="594425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buNone/>
              <a:defRPr/>
            </a:lvl1pPr>
            <a:lvl2pPr lvl="1" rtl="0">
              <a:spcBef>
                <a:spcPts val="0"/>
              </a:spcBef>
              <a:buNone/>
              <a:defRPr/>
            </a:lvl2pPr>
            <a:lvl3pPr lvl="2" rtl="0">
              <a:spcBef>
                <a:spcPts val="0"/>
              </a:spcBef>
              <a:buNone/>
              <a:defRPr/>
            </a:lvl3pPr>
            <a:lvl4pPr lvl="3" rtl="0">
              <a:spcBef>
                <a:spcPts val="0"/>
              </a:spcBef>
              <a:buNone/>
              <a:defRPr/>
            </a:lvl4pPr>
            <a:lvl5pPr lvl="4" rtl="0">
              <a:spcBef>
                <a:spcPts val="0"/>
              </a:spcBef>
              <a:buNone/>
              <a:defRPr/>
            </a:lvl5pPr>
            <a:lvl6pPr lvl="5" rtl="0">
              <a:spcBef>
                <a:spcPts val="0"/>
              </a:spcBef>
              <a:buNone/>
              <a:defRPr/>
            </a:lvl6pPr>
            <a:lvl7pPr lvl="6" rtl="0">
              <a:spcBef>
                <a:spcPts val="0"/>
              </a:spcBef>
              <a:buNone/>
              <a:defRPr/>
            </a:lvl7pPr>
            <a:lvl8pPr lvl="7" rtl="0">
              <a:spcBef>
                <a:spcPts val="0"/>
              </a:spcBef>
              <a:buNone/>
              <a:defRPr/>
            </a:lvl8pPr>
            <a:lvl9pPr lvl="8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1510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.2. Text - Three columns - Text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Shape 200"/>
          <p:cNvSpPr txBox="1">
            <a:spLocks noGrp="1"/>
          </p:cNvSpPr>
          <p:nvPr>
            <p:ph type="title"/>
          </p:nvPr>
        </p:nvSpPr>
        <p:spPr>
          <a:xfrm>
            <a:off x="90025" y="15200"/>
            <a:ext cx="9683050" cy="6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250">
                <a:solidFill>
                  <a:srgbClr val="263238"/>
                </a:solidFill>
                <a:latin typeface="Yrsa"/>
                <a:ea typeface="Yrsa"/>
                <a:cs typeface="Yrsa"/>
                <a:sym typeface="Yrs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9pPr>
          </a:lstStyle>
          <a:p>
            <a:endParaRPr/>
          </a:p>
        </p:txBody>
      </p:sp>
      <p:sp>
        <p:nvSpPr>
          <p:cNvPr id="201" name="Shape 201"/>
          <p:cNvSpPr txBox="1">
            <a:spLocks noGrp="1"/>
          </p:cNvSpPr>
          <p:nvPr>
            <p:ph type="subTitle" idx="1"/>
          </p:nvPr>
        </p:nvSpPr>
        <p:spPr>
          <a:xfrm>
            <a:off x="90025" y="595400"/>
            <a:ext cx="9683050" cy="5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02" name="Shape 202"/>
          <p:cNvSpPr txBox="1">
            <a:spLocks noGrp="1"/>
          </p:cNvSpPr>
          <p:nvPr>
            <p:ph type="sldNum" idx="12"/>
          </p:nvPr>
        </p:nvSpPr>
        <p:spPr>
          <a:xfrm>
            <a:off x="9178488" y="6420827"/>
            <a:ext cx="594425" cy="23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lvl="1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lvl="2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lvl="3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lvl="4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lvl="5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lvl="6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lvl="7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lvl="8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fld id="{00000000-1234-1234-1234-123412341234}" type="slidenum">
              <a:rPr lang="en-GB" smtClean="0">
                <a:solidFill>
                  <a:srgbClr val="434342"/>
                </a:solidFill>
              </a:rPr>
              <a:pPr/>
              <a:t>‹#›</a:t>
            </a:fld>
            <a:endParaRPr lang="en-GB">
              <a:solidFill>
                <a:srgbClr val="434342"/>
              </a:solidFill>
            </a:endParaRPr>
          </a:p>
        </p:txBody>
      </p:sp>
      <p:sp>
        <p:nvSpPr>
          <p:cNvPr id="203" name="Shape 203"/>
          <p:cNvSpPr txBox="1">
            <a:spLocks noGrp="1"/>
          </p:cNvSpPr>
          <p:nvPr>
            <p:ph type="body" idx="2"/>
          </p:nvPr>
        </p:nvSpPr>
        <p:spPr>
          <a:xfrm>
            <a:off x="596565" y="1410100"/>
            <a:ext cx="2831725" cy="50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900" lvl="0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028700" lvl="2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371600" lvl="3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4pPr>
            <a:lvl5pPr marL="1714500" lvl="4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057400" lvl="5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400300" lvl="6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7pPr>
            <a:lvl8pPr marL="2743200" lvl="7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086100" lvl="8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04" name="Shape 204"/>
          <p:cNvSpPr txBox="1">
            <a:spLocks noGrp="1"/>
          </p:cNvSpPr>
          <p:nvPr>
            <p:ph type="body" idx="3"/>
          </p:nvPr>
        </p:nvSpPr>
        <p:spPr>
          <a:xfrm>
            <a:off x="3564361" y="1410100"/>
            <a:ext cx="2880475" cy="50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900" lvl="0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028700" lvl="2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371600" lvl="3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4pPr>
            <a:lvl5pPr marL="1714500" lvl="4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057400" lvl="5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400300" lvl="6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7pPr>
            <a:lvl8pPr marL="2743200" lvl="7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086100" lvl="8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05" name="Shape 205"/>
          <p:cNvSpPr txBox="1">
            <a:spLocks noGrp="1"/>
          </p:cNvSpPr>
          <p:nvPr>
            <p:ph type="body" idx="4"/>
          </p:nvPr>
        </p:nvSpPr>
        <p:spPr>
          <a:xfrm>
            <a:off x="6591783" y="1410100"/>
            <a:ext cx="2880475" cy="50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900" lvl="0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028700" lvl="2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371600" lvl="3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4pPr>
            <a:lvl5pPr marL="1714500" lvl="4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057400" lvl="5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400300" lvl="6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7pPr>
            <a:lvl8pPr marL="2743200" lvl="7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086100" lvl="8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238450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3">
    <p:spTree>
      <p:nvGrpSpPr>
        <p:cNvPr id="1" name="Shape 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Shape 558"/>
          <p:cNvSpPr txBox="1">
            <a:spLocks noGrp="1"/>
          </p:cNvSpPr>
          <p:nvPr>
            <p:ph type="ctrTitle"/>
          </p:nvPr>
        </p:nvSpPr>
        <p:spPr>
          <a:xfrm>
            <a:off x="337684" y="992767"/>
            <a:ext cx="9230650" cy="2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Char char="●"/>
              <a:defRPr sz="39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Char char="○"/>
              <a:defRPr sz="39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Char char="■"/>
              <a:defRPr sz="39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Char char="●"/>
              <a:defRPr sz="39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Char char="○"/>
              <a:defRPr sz="39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Char char="■"/>
              <a:defRPr sz="39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Char char="●"/>
              <a:defRPr sz="39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Char char="○"/>
              <a:defRPr sz="39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Char char="■"/>
              <a:defRPr sz="3900"/>
            </a:lvl9pPr>
          </a:lstStyle>
          <a:p>
            <a:endParaRPr/>
          </a:p>
        </p:txBody>
      </p:sp>
      <p:sp>
        <p:nvSpPr>
          <p:cNvPr id="559" name="Shape 559"/>
          <p:cNvSpPr txBox="1">
            <a:spLocks noGrp="1"/>
          </p:cNvSpPr>
          <p:nvPr>
            <p:ph type="subTitle" idx="1"/>
          </p:nvPr>
        </p:nvSpPr>
        <p:spPr>
          <a:xfrm>
            <a:off x="337675" y="3778833"/>
            <a:ext cx="923065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9pPr>
          </a:lstStyle>
          <a:p>
            <a:endParaRPr/>
          </a:p>
        </p:txBody>
      </p:sp>
      <p:sp>
        <p:nvSpPr>
          <p:cNvPr id="560" name="Shape 560"/>
          <p:cNvSpPr txBox="1">
            <a:spLocks noGrp="1"/>
          </p:cNvSpPr>
          <p:nvPr>
            <p:ph type="sldNum" idx="12"/>
          </p:nvPr>
        </p:nvSpPr>
        <p:spPr>
          <a:xfrm>
            <a:off x="9178496" y="6217623"/>
            <a:ext cx="594425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buNone/>
              <a:defRPr/>
            </a:lvl1pPr>
            <a:lvl2pPr lvl="1" rtl="0">
              <a:spcBef>
                <a:spcPts val="0"/>
              </a:spcBef>
              <a:buNone/>
              <a:defRPr/>
            </a:lvl2pPr>
            <a:lvl3pPr lvl="2" rtl="0">
              <a:spcBef>
                <a:spcPts val="0"/>
              </a:spcBef>
              <a:buNone/>
              <a:defRPr/>
            </a:lvl3pPr>
            <a:lvl4pPr lvl="3" rtl="0">
              <a:spcBef>
                <a:spcPts val="0"/>
              </a:spcBef>
              <a:buNone/>
              <a:defRPr/>
            </a:lvl4pPr>
            <a:lvl5pPr lvl="4" rtl="0">
              <a:spcBef>
                <a:spcPts val="0"/>
              </a:spcBef>
              <a:buNone/>
              <a:defRPr/>
            </a:lvl5pPr>
            <a:lvl6pPr lvl="5" rtl="0">
              <a:spcBef>
                <a:spcPts val="0"/>
              </a:spcBef>
              <a:buNone/>
              <a:defRPr/>
            </a:lvl6pPr>
            <a:lvl7pPr lvl="6" rtl="0">
              <a:spcBef>
                <a:spcPts val="0"/>
              </a:spcBef>
              <a:buNone/>
              <a:defRPr/>
            </a:lvl7pPr>
            <a:lvl8pPr lvl="7" rtl="0">
              <a:spcBef>
                <a:spcPts val="0"/>
              </a:spcBef>
              <a:buNone/>
              <a:defRPr/>
            </a:lvl8pPr>
            <a:lvl9pPr lvl="8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7499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.0.2 Text - One columns - Text and pattern">
  <p:cSld name="4.0.2 Text - One columns - Text and pattern">
    <p:spTree>
      <p:nvGrpSpPr>
        <p:cNvPr id="1" name="Shape 8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2" name="Shape 822"/>
          <p:cNvSpPr txBox="1">
            <a:spLocks noGrp="1"/>
          </p:cNvSpPr>
          <p:nvPr>
            <p:ph type="sldNum" idx="12"/>
          </p:nvPr>
        </p:nvSpPr>
        <p:spPr>
          <a:xfrm>
            <a:off x="9178488" y="6420827"/>
            <a:ext cx="594425" cy="23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lvl="1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lvl="2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lvl="3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lvl="4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lvl="5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lvl="6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lvl="7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lvl="8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fld id="{00000000-1234-1234-1234-123412341234}" type="slidenum">
              <a:rPr lang="en-GB" smtClean="0">
                <a:solidFill>
                  <a:srgbClr val="434342"/>
                </a:solidFill>
              </a:rPr>
              <a:pPr/>
              <a:t>‹#›</a:t>
            </a:fld>
            <a:endParaRPr lang="en-GB">
              <a:solidFill>
                <a:srgbClr val="434342"/>
              </a:solidFill>
            </a:endParaRPr>
          </a:p>
        </p:txBody>
      </p:sp>
      <p:sp>
        <p:nvSpPr>
          <p:cNvPr id="823" name="Shape 823"/>
          <p:cNvSpPr/>
          <p:nvPr/>
        </p:nvSpPr>
        <p:spPr>
          <a:xfrm>
            <a:off x="7427442" y="-200"/>
            <a:ext cx="2478775" cy="6858000"/>
          </a:xfrm>
          <a:prstGeom prst="rect">
            <a:avLst/>
          </a:prstGeom>
          <a:solidFill>
            <a:srgbClr val="41A2B0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endParaRPr sz="135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824" name="Shape 824"/>
          <p:cNvSpPr txBox="1">
            <a:spLocks noGrp="1"/>
          </p:cNvSpPr>
          <p:nvPr>
            <p:ph type="title"/>
          </p:nvPr>
        </p:nvSpPr>
        <p:spPr>
          <a:xfrm>
            <a:off x="172575" y="15200"/>
            <a:ext cx="7337525" cy="6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250">
                <a:solidFill>
                  <a:srgbClr val="263238"/>
                </a:solidFill>
                <a:latin typeface="Yrsa"/>
                <a:ea typeface="Yrsa"/>
                <a:cs typeface="Yrsa"/>
                <a:sym typeface="Yrs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9pPr>
          </a:lstStyle>
          <a:p>
            <a:endParaRPr/>
          </a:p>
        </p:txBody>
      </p:sp>
      <p:sp>
        <p:nvSpPr>
          <p:cNvPr id="825" name="Shape 825"/>
          <p:cNvSpPr txBox="1">
            <a:spLocks noGrp="1"/>
          </p:cNvSpPr>
          <p:nvPr>
            <p:ph type="subTitle" idx="1"/>
          </p:nvPr>
        </p:nvSpPr>
        <p:spPr>
          <a:xfrm>
            <a:off x="172575" y="595400"/>
            <a:ext cx="7337525" cy="5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826" name="Shape 826"/>
          <p:cNvSpPr txBox="1">
            <a:spLocks noGrp="1"/>
          </p:cNvSpPr>
          <p:nvPr>
            <p:ph type="body" idx="2"/>
          </p:nvPr>
        </p:nvSpPr>
        <p:spPr>
          <a:xfrm>
            <a:off x="679115" y="1410100"/>
            <a:ext cx="5150600" cy="51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900" lvl="0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028700" lvl="2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371600" lvl="3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4pPr>
            <a:lvl5pPr marL="1714500" lvl="4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057400" lvl="5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400300" lvl="6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7pPr>
            <a:lvl8pPr marL="2743200" lvl="7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086100" lvl="8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pic>
        <p:nvPicPr>
          <p:cNvPr id="827" name="Shape 827"/>
          <p:cNvPicPr preferRelativeResize="0"/>
          <p:nvPr/>
        </p:nvPicPr>
        <p:blipFill rotWithShape="1">
          <a:blip r:embed="rId2">
            <a:alphaModFix amt="12000"/>
          </a:blip>
          <a:srcRect l="74965"/>
          <a:stretch/>
        </p:blipFill>
        <p:spPr>
          <a:xfrm>
            <a:off x="7424950" y="0"/>
            <a:ext cx="2478775" cy="6840800"/>
          </a:xfrm>
          <a:prstGeom prst="rect">
            <a:avLst/>
          </a:prstGeom>
          <a:noFill/>
          <a:ln>
            <a:noFill/>
          </a:ln>
        </p:spPr>
      </p:pic>
      <p:sp>
        <p:nvSpPr>
          <p:cNvPr id="828" name="Shape 828"/>
          <p:cNvSpPr txBox="1">
            <a:spLocks noGrp="1"/>
          </p:cNvSpPr>
          <p:nvPr>
            <p:ph type="sldNum" idx="3"/>
          </p:nvPr>
        </p:nvSpPr>
        <p:spPr>
          <a:xfrm>
            <a:off x="9178488" y="6420827"/>
            <a:ext cx="594425" cy="23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lvl="1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lvl="2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lvl="3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lvl="4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lvl="5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lvl="6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lvl="7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lvl="8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2290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.0 Rulebook - Logo">
  <p:cSld name="0.0 Rulebook - Logo"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90326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" y="2"/>
            <a:ext cx="9905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37106" y="2057113"/>
            <a:ext cx="8420025" cy="914112"/>
          </a:xfrm>
        </p:spPr>
        <p:txBody>
          <a:bodyPr anchor="t"/>
          <a:lstStyle>
            <a:lvl1pPr>
              <a:defRPr sz="4429">
                <a:solidFill>
                  <a:srgbClr val="70147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742987" y="2971225"/>
            <a:ext cx="8408256" cy="1751929"/>
          </a:xfrm>
        </p:spPr>
        <p:txBody>
          <a:bodyPr/>
          <a:lstStyle>
            <a:lvl1pPr marL="0" indent="0" eaLnBrk="0" hangingPunct="0">
              <a:buFontTx/>
              <a:buNone/>
              <a:defRPr sz="221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31086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95307" y="116632"/>
            <a:ext cx="6641943" cy="778098"/>
          </a:xfrm>
        </p:spPr>
        <p:txBody>
          <a:bodyPr anchor="ctr"/>
          <a:lstStyle>
            <a:lvl1pPr>
              <a:lnSpc>
                <a:spcPct val="100000"/>
              </a:lnSpc>
              <a:defRPr sz="1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0" y="980728"/>
            <a:ext cx="990685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B2B7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94898166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495825" y="-31737"/>
            <a:ext cx="891437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495825" y="1143617"/>
            <a:ext cx="8914370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25291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712" y="4406462"/>
            <a:ext cx="8420026" cy="1361811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712" y="2906445"/>
            <a:ext cx="8420026" cy="1500008"/>
          </a:xfrm>
        </p:spPr>
        <p:txBody>
          <a:bodyPr anchor="b"/>
          <a:lstStyle>
            <a:lvl1pPr marL="0" indent="0">
              <a:buNone/>
              <a:defRPr sz="1786"/>
            </a:lvl1pPr>
            <a:lvl2pPr marL="400499" indent="0">
              <a:buNone/>
              <a:defRPr sz="1571"/>
            </a:lvl2pPr>
            <a:lvl3pPr marL="800998" indent="0">
              <a:buNone/>
              <a:defRPr sz="1429"/>
            </a:lvl3pPr>
            <a:lvl4pPr marL="1201497" indent="0">
              <a:buNone/>
              <a:defRPr sz="1214"/>
            </a:lvl4pPr>
            <a:lvl5pPr marL="1601995" indent="0">
              <a:buNone/>
              <a:defRPr sz="1214"/>
            </a:lvl5pPr>
            <a:lvl6pPr marL="2002495" indent="0">
              <a:buNone/>
              <a:defRPr sz="1214"/>
            </a:lvl6pPr>
            <a:lvl7pPr marL="2402992" indent="0">
              <a:buNone/>
              <a:defRPr sz="1214"/>
            </a:lvl7pPr>
            <a:lvl8pPr marL="2803490" indent="0">
              <a:buNone/>
              <a:defRPr sz="1214"/>
            </a:lvl8pPr>
            <a:lvl9pPr marL="3203987" indent="0">
              <a:buNone/>
              <a:defRPr sz="12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02548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817" y="1600785"/>
            <a:ext cx="4385828" cy="4048005"/>
          </a:xfrm>
        </p:spPr>
        <p:txBody>
          <a:bodyPr/>
          <a:lstStyle>
            <a:lvl1pPr>
              <a:defRPr sz="1214"/>
            </a:lvl1pPr>
            <a:lvl2pPr>
              <a:defRPr sz="1214"/>
            </a:lvl2pPr>
            <a:lvl3pPr>
              <a:defRPr sz="1214"/>
            </a:lvl3pPr>
            <a:lvl4pPr>
              <a:defRPr sz="1214"/>
            </a:lvl4pPr>
            <a:lvl5pPr>
              <a:defRPr sz="1214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2895" y="1600785"/>
            <a:ext cx="4387300" cy="4048005"/>
          </a:xfrm>
        </p:spPr>
        <p:txBody>
          <a:bodyPr/>
          <a:lstStyle>
            <a:lvl1pPr>
              <a:defRPr sz="1214"/>
            </a:lvl1pPr>
            <a:lvl2pPr>
              <a:defRPr sz="1214"/>
            </a:lvl2pPr>
            <a:lvl3pPr>
              <a:defRPr sz="1214"/>
            </a:lvl3pPr>
            <a:lvl4pPr>
              <a:defRPr sz="1214"/>
            </a:lvl4pPr>
            <a:lvl5pPr>
              <a:defRPr sz="1214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8934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816" y="1534566"/>
            <a:ext cx="4377000" cy="640599"/>
          </a:xfrm>
        </p:spPr>
        <p:txBody>
          <a:bodyPr anchor="b"/>
          <a:lstStyle>
            <a:lvl1pPr marL="0" indent="0">
              <a:buNone/>
              <a:defRPr sz="2071" b="1"/>
            </a:lvl1pPr>
            <a:lvl2pPr marL="400499" indent="0">
              <a:buNone/>
              <a:defRPr sz="1786" b="1"/>
            </a:lvl2pPr>
            <a:lvl3pPr marL="800998" indent="0">
              <a:buNone/>
              <a:defRPr sz="1571" b="1"/>
            </a:lvl3pPr>
            <a:lvl4pPr marL="1201497" indent="0">
              <a:buNone/>
              <a:defRPr sz="1429" b="1"/>
            </a:lvl4pPr>
            <a:lvl5pPr marL="1601995" indent="0">
              <a:buNone/>
              <a:defRPr sz="1429" b="1"/>
            </a:lvl5pPr>
            <a:lvl6pPr marL="2002495" indent="0">
              <a:buNone/>
              <a:defRPr sz="1429" b="1"/>
            </a:lvl6pPr>
            <a:lvl7pPr marL="2402992" indent="0">
              <a:buNone/>
              <a:defRPr sz="1429" b="1"/>
            </a:lvl7pPr>
            <a:lvl8pPr marL="2803490" indent="0">
              <a:buNone/>
              <a:defRPr sz="1429" b="1"/>
            </a:lvl8pPr>
            <a:lvl9pPr marL="3203987" indent="0">
              <a:buNone/>
              <a:defRPr sz="142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816" y="2175164"/>
            <a:ext cx="4377000" cy="3951555"/>
          </a:xfrm>
        </p:spPr>
        <p:txBody>
          <a:bodyPr/>
          <a:lstStyle>
            <a:lvl1pPr>
              <a:defRPr sz="2071"/>
            </a:lvl1pPr>
            <a:lvl2pPr>
              <a:defRPr sz="1786"/>
            </a:lvl2pPr>
            <a:lvl3pPr>
              <a:defRPr sz="1571"/>
            </a:lvl3pPr>
            <a:lvl4pPr>
              <a:defRPr sz="1429"/>
            </a:lvl4pPr>
            <a:lvl5pPr>
              <a:defRPr sz="1429"/>
            </a:lvl5pPr>
            <a:lvl6pPr>
              <a:defRPr sz="1429"/>
            </a:lvl6pPr>
            <a:lvl7pPr>
              <a:defRPr sz="1429"/>
            </a:lvl7pPr>
            <a:lvl8pPr>
              <a:defRPr sz="1429"/>
            </a:lvl8pPr>
            <a:lvl9pPr>
              <a:defRPr sz="14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1712" y="1534566"/>
            <a:ext cx="4378473" cy="640599"/>
          </a:xfrm>
        </p:spPr>
        <p:txBody>
          <a:bodyPr anchor="b"/>
          <a:lstStyle>
            <a:lvl1pPr marL="0" indent="0">
              <a:buNone/>
              <a:defRPr sz="2071" b="1"/>
            </a:lvl1pPr>
            <a:lvl2pPr marL="400499" indent="0">
              <a:buNone/>
              <a:defRPr sz="1786" b="1"/>
            </a:lvl2pPr>
            <a:lvl3pPr marL="800998" indent="0">
              <a:buNone/>
              <a:defRPr sz="1571" b="1"/>
            </a:lvl3pPr>
            <a:lvl4pPr marL="1201497" indent="0">
              <a:buNone/>
              <a:defRPr sz="1429" b="1"/>
            </a:lvl4pPr>
            <a:lvl5pPr marL="1601995" indent="0">
              <a:buNone/>
              <a:defRPr sz="1429" b="1"/>
            </a:lvl5pPr>
            <a:lvl6pPr marL="2002495" indent="0">
              <a:buNone/>
              <a:defRPr sz="1429" b="1"/>
            </a:lvl6pPr>
            <a:lvl7pPr marL="2402992" indent="0">
              <a:buNone/>
              <a:defRPr sz="1429" b="1"/>
            </a:lvl7pPr>
            <a:lvl8pPr marL="2803490" indent="0">
              <a:buNone/>
              <a:defRPr sz="1429" b="1"/>
            </a:lvl8pPr>
            <a:lvl9pPr marL="3203987" indent="0">
              <a:buNone/>
              <a:defRPr sz="142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1712" y="2175164"/>
            <a:ext cx="4378473" cy="3951555"/>
          </a:xfrm>
        </p:spPr>
        <p:txBody>
          <a:bodyPr/>
          <a:lstStyle>
            <a:lvl1pPr>
              <a:defRPr sz="2071"/>
            </a:lvl1pPr>
            <a:lvl2pPr>
              <a:defRPr sz="1786"/>
            </a:lvl2pPr>
            <a:lvl3pPr>
              <a:defRPr sz="1571"/>
            </a:lvl3pPr>
            <a:lvl4pPr>
              <a:defRPr sz="1429"/>
            </a:lvl4pPr>
            <a:lvl5pPr>
              <a:defRPr sz="1429"/>
            </a:lvl5pPr>
            <a:lvl6pPr>
              <a:defRPr sz="1429"/>
            </a:lvl6pPr>
            <a:lvl7pPr>
              <a:defRPr sz="1429"/>
            </a:lvl7pPr>
            <a:lvl8pPr>
              <a:defRPr sz="1429"/>
            </a:lvl8pPr>
            <a:lvl9pPr>
              <a:defRPr sz="14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919704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10861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07587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16" y="273519"/>
            <a:ext cx="3258842" cy="1161715"/>
          </a:xfrm>
        </p:spPr>
        <p:txBody>
          <a:bodyPr anchor="b"/>
          <a:lstStyle>
            <a:lvl1pPr algn="l">
              <a:defRPr sz="1786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368" y="273515"/>
            <a:ext cx="5537826" cy="5853196"/>
          </a:xfrm>
        </p:spPr>
        <p:txBody>
          <a:bodyPr/>
          <a:lstStyle>
            <a:lvl1pPr>
              <a:defRPr sz="2786"/>
            </a:lvl1pPr>
            <a:lvl2pPr>
              <a:defRPr sz="2500"/>
            </a:lvl2pPr>
            <a:lvl3pPr>
              <a:defRPr sz="2071"/>
            </a:lvl3pPr>
            <a:lvl4pPr>
              <a:defRPr sz="1786"/>
            </a:lvl4pPr>
            <a:lvl5pPr>
              <a:defRPr sz="1786"/>
            </a:lvl5pPr>
            <a:lvl6pPr>
              <a:defRPr sz="1786"/>
            </a:lvl6pPr>
            <a:lvl7pPr>
              <a:defRPr sz="1786"/>
            </a:lvl7pPr>
            <a:lvl8pPr>
              <a:defRPr sz="1786"/>
            </a:lvl8pPr>
            <a:lvl9pPr>
              <a:defRPr sz="178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16" y="1435228"/>
            <a:ext cx="3258842" cy="4691482"/>
          </a:xfrm>
        </p:spPr>
        <p:txBody>
          <a:bodyPr/>
          <a:lstStyle>
            <a:lvl1pPr marL="0" indent="0">
              <a:buNone/>
              <a:defRPr sz="1214"/>
            </a:lvl1pPr>
            <a:lvl2pPr marL="400499" indent="0">
              <a:buNone/>
              <a:defRPr sz="1071"/>
            </a:lvl2pPr>
            <a:lvl3pPr marL="800998" indent="0">
              <a:buNone/>
              <a:defRPr sz="929"/>
            </a:lvl3pPr>
            <a:lvl4pPr marL="1201497" indent="0">
              <a:buNone/>
              <a:defRPr sz="786"/>
            </a:lvl4pPr>
            <a:lvl5pPr marL="1601995" indent="0">
              <a:buNone/>
              <a:defRPr sz="786"/>
            </a:lvl5pPr>
            <a:lvl6pPr marL="2002495" indent="0">
              <a:buNone/>
              <a:defRPr sz="786"/>
            </a:lvl6pPr>
            <a:lvl7pPr marL="2402992" indent="0">
              <a:buNone/>
              <a:defRPr sz="786"/>
            </a:lvl7pPr>
            <a:lvl8pPr marL="2803490" indent="0">
              <a:buNone/>
              <a:defRPr sz="786"/>
            </a:lvl8pPr>
            <a:lvl9pPr marL="3203987" indent="0">
              <a:buNone/>
              <a:defRPr sz="78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03247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2074" y="4800898"/>
            <a:ext cx="5943894" cy="565741"/>
          </a:xfrm>
        </p:spPr>
        <p:txBody>
          <a:bodyPr anchor="b"/>
          <a:lstStyle>
            <a:lvl1pPr algn="l">
              <a:defRPr sz="1786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2074" y="613247"/>
            <a:ext cx="5943894" cy="4114224"/>
          </a:xfrm>
        </p:spPr>
        <p:txBody>
          <a:bodyPr/>
          <a:lstStyle>
            <a:lvl1pPr marL="0" indent="0">
              <a:buNone/>
              <a:defRPr sz="2786"/>
            </a:lvl1pPr>
            <a:lvl2pPr marL="400499" indent="0">
              <a:buNone/>
              <a:defRPr sz="2500"/>
            </a:lvl2pPr>
            <a:lvl3pPr marL="800998" indent="0">
              <a:buNone/>
              <a:defRPr sz="2071"/>
            </a:lvl3pPr>
            <a:lvl4pPr marL="1201497" indent="0">
              <a:buNone/>
              <a:defRPr sz="1786"/>
            </a:lvl4pPr>
            <a:lvl5pPr marL="1601995" indent="0">
              <a:buNone/>
              <a:defRPr sz="1786"/>
            </a:lvl5pPr>
            <a:lvl6pPr marL="2002495" indent="0">
              <a:buNone/>
              <a:defRPr sz="1786"/>
            </a:lvl6pPr>
            <a:lvl7pPr marL="2402992" indent="0">
              <a:buNone/>
              <a:defRPr sz="1786"/>
            </a:lvl7pPr>
            <a:lvl8pPr marL="2803490" indent="0">
              <a:buNone/>
              <a:defRPr sz="1786"/>
            </a:lvl8pPr>
            <a:lvl9pPr marL="3203987" indent="0">
              <a:buNone/>
              <a:defRPr sz="1786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2074" y="5366630"/>
            <a:ext cx="5943894" cy="806146"/>
          </a:xfrm>
        </p:spPr>
        <p:txBody>
          <a:bodyPr/>
          <a:lstStyle>
            <a:lvl1pPr marL="0" indent="0">
              <a:buNone/>
              <a:defRPr sz="1214"/>
            </a:lvl1pPr>
            <a:lvl2pPr marL="400499" indent="0">
              <a:buNone/>
              <a:defRPr sz="1071"/>
            </a:lvl2pPr>
            <a:lvl3pPr marL="800998" indent="0">
              <a:buNone/>
              <a:defRPr sz="929"/>
            </a:lvl3pPr>
            <a:lvl4pPr marL="1201497" indent="0">
              <a:buNone/>
              <a:defRPr sz="786"/>
            </a:lvl4pPr>
            <a:lvl5pPr marL="1601995" indent="0">
              <a:buNone/>
              <a:defRPr sz="786"/>
            </a:lvl5pPr>
            <a:lvl6pPr marL="2002495" indent="0">
              <a:buNone/>
              <a:defRPr sz="786"/>
            </a:lvl6pPr>
            <a:lvl7pPr marL="2402992" indent="0">
              <a:buNone/>
              <a:defRPr sz="786"/>
            </a:lvl7pPr>
            <a:lvl8pPr marL="2803490" indent="0">
              <a:buNone/>
              <a:defRPr sz="786"/>
            </a:lvl8pPr>
            <a:lvl9pPr marL="3203987" indent="0">
              <a:buNone/>
              <a:defRPr sz="78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62297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83271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2696" y="274955"/>
            <a:ext cx="2227489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825" y="274955"/>
            <a:ext cx="6545640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17234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95307" y="116632"/>
            <a:ext cx="6641943" cy="778098"/>
          </a:xfrm>
        </p:spPr>
        <p:txBody>
          <a:bodyPr anchor="ctr"/>
          <a:lstStyle>
            <a:lvl1pPr>
              <a:lnSpc>
                <a:spcPct val="100000"/>
              </a:lnSpc>
              <a:defRPr sz="1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7262" y="1052736"/>
            <a:ext cx="990685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B2B7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4998846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-97034"/>
            <a:ext cx="9084680" cy="1143000"/>
          </a:xfrm>
          <a:prstGeom prst="rect">
            <a:avLst/>
          </a:prstGeom>
        </p:spPr>
        <p:txBody>
          <a:bodyPr/>
          <a:lstStyle>
            <a:lvl1pPr>
              <a:defRPr sz="3214"/>
            </a:lvl1pPr>
          </a:lstStyle>
          <a:p>
            <a:r>
              <a:rPr lang="en-US" dirty="0"/>
              <a:t>#. Click to edit Master title style</a:t>
            </a:r>
            <a:br>
              <a:rPr lang="en-US" dirty="0"/>
            </a:br>
            <a:endParaRPr lang="en-GB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572" y="1078312"/>
            <a:ext cx="9065131" cy="4179888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5185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307" y="116632"/>
            <a:ext cx="6641943" cy="778098"/>
          </a:xfrm>
        </p:spPr>
        <p:txBody>
          <a:bodyPr anchor="ctr"/>
          <a:lstStyle>
            <a:lvl1pPr>
              <a:lnSpc>
                <a:spcPct val="100000"/>
              </a:lnSpc>
              <a:defRPr sz="180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i="1" dirty="0"/>
              <a:t>Subheading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solidFill>
                  <a:schemeClr val="tx1"/>
                </a:solidFill>
              </a:defRPr>
            </a:lvl1pPr>
            <a:lvl2pPr marL="742950" indent="-285750" fontAlgn="base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  <a:defRPr sz="2000">
                <a:latin typeface="+mj-lt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800"/>
            </a:lvl3pPr>
            <a:lvl4pPr marL="16002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600"/>
            </a:lvl4pPr>
            <a:lvl5pPr marL="2114550" indent="-28575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600"/>
            </a:lvl5pPr>
            <a:lvl6pPr marL="2571750" indent="-285750">
              <a:buFontTx/>
              <a:buBlip>
                <a:blip r:embed="rId2"/>
              </a:buBlip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sz="1200" dirty="0">
              <a:effectLst/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90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solidFill>
                  <a:schemeClr val="tx1"/>
                </a:solidFill>
              </a:defRPr>
            </a:lvl1pPr>
            <a:lvl2pPr marL="7429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2pPr>
            <a:lvl3pPr marL="11430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800"/>
            </a:lvl3pPr>
            <a:lvl4pPr marL="16002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600"/>
            </a:lvl4pPr>
            <a:lvl5pPr marL="20574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600"/>
            </a:lvl5pPr>
            <a:lvl6pPr marL="2571750" indent="-285750">
              <a:buFontTx/>
              <a:buBlip>
                <a:blip r:embed="rId2"/>
              </a:buBlip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Rectangle 20"/>
          <p:cNvSpPr/>
          <p:nvPr userDrawn="1"/>
        </p:nvSpPr>
        <p:spPr bwMode="auto">
          <a:xfrm>
            <a:off x="0" y="-27384"/>
            <a:ext cx="9906000" cy="45719"/>
          </a:xfrm>
          <a:prstGeom prst="rect">
            <a:avLst/>
          </a:prstGeom>
          <a:solidFill>
            <a:srgbClr val="731A7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8553402" y="6654552"/>
            <a:ext cx="13128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b="1" i="1" dirty="0">
                <a:solidFill>
                  <a:schemeClr val="bg1">
                    <a:lumMod val="65000"/>
                  </a:schemeClr>
                </a:solidFill>
              </a:rPr>
              <a:t>OBC Alliance Board</a:t>
            </a: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7262" y="1052736"/>
            <a:ext cx="990685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B2B7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8564407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 userDrawn="1"/>
        </p:nvCxnSpPr>
        <p:spPr bwMode="auto">
          <a:xfrm>
            <a:off x="460193" y="1052736"/>
            <a:ext cx="9001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731A7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solidFill>
                  <a:schemeClr val="tx1"/>
                </a:solidFill>
              </a:defRPr>
            </a:lvl1pPr>
            <a:lvl2pPr marL="742950" indent="-285750" fontAlgn="base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  <a:defRPr sz="2000">
                <a:latin typeface="+mj-lt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800"/>
            </a:lvl3pPr>
            <a:lvl4pPr marL="16002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600"/>
            </a:lvl4pPr>
            <a:lvl5pPr marL="2114550" indent="-28575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600"/>
            </a:lvl5pPr>
            <a:lvl6pPr marL="2571750" indent="-285750">
              <a:buFontTx/>
              <a:buBlip>
                <a:blip r:embed="rId2"/>
              </a:buBlip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sz="1200" dirty="0">
              <a:effectLst/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19" name="Content Placeholder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90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solidFill>
                  <a:schemeClr val="tx1"/>
                </a:solidFill>
              </a:defRPr>
            </a:lvl1pPr>
            <a:lvl2pPr marL="7429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2pPr>
            <a:lvl3pPr marL="11430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800"/>
            </a:lvl3pPr>
            <a:lvl4pPr marL="16002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600"/>
            </a:lvl4pPr>
            <a:lvl5pPr marL="20574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600"/>
            </a:lvl5pPr>
            <a:lvl6pPr marL="2571750" indent="-285750">
              <a:buFontTx/>
              <a:buBlip>
                <a:blip r:embed="rId2"/>
              </a:buBlip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95307" y="116632"/>
            <a:ext cx="6641943" cy="778098"/>
          </a:xfrm>
        </p:spPr>
        <p:txBody>
          <a:bodyPr anchor="ctr"/>
          <a:lstStyle>
            <a:lvl1pPr>
              <a:lnSpc>
                <a:spcPct val="100000"/>
              </a:lnSpc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5810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 bwMode="auto">
          <a:xfrm>
            <a:off x="460193" y="908720"/>
            <a:ext cx="9001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31A7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solidFill>
                  <a:schemeClr val="tx1"/>
                </a:solidFill>
              </a:defRPr>
            </a:lvl1pPr>
            <a:lvl2pPr marL="742950" indent="-285750" fontAlgn="base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  <a:defRPr sz="2000">
                <a:latin typeface="+mj-lt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800"/>
            </a:lvl3pPr>
            <a:lvl4pPr marL="16002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600"/>
            </a:lvl4pPr>
            <a:lvl5pPr marL="2114550" indent="-28575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600"/>
            </a:lvl5pPr>
            <a:lvl6pPr marL="2571750" indent="-285750">
              <a:buFontTx/>
              <a:buBlip>
                <a:blip r:embed="rId2"/>
              </a:buBlip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sz="1200" dirty="0">
              <a:effectLst/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19" name="Content Placeholder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90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solidFill>
                  <a:schemeClr val="tx1"/>
                </a:solidFill>
              </a:defRPr>
            </a:lvl1pPr>
            <a:lvl2pPr marL="7429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2pPr>
            <a:lvl3pPr marL="11430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800"/>
            </a:lvl3pPr>
            <a:lvl4pPr marL="16002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600"/>
            </a:lvl4pPr>
            <a:lvl5pPr marL="20574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600"/>
            </a:lvl5pPr>
            <a:lvl6pPr marL="2571750" indent="-285750">
              <a:buFontTx/>
              <a:buBlip>
                <a:blip r:embed="rId2"/>
              </a:buBlip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95307" y="116632"/>
            <a:ext cx="6641943" cy="778098"/>
          </a:xfrm>
        </p:spPr>
        <p:txBody>
          <a:bodyPr anchor="ctr"/>
          <a:lstStyle>
            <a:lvl1pPr>
              <a:lnSpc>
                <a:spcPct val="100000"/>
              </a:lnSpc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88415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8504" y="1535113"/>
            <a:ext cx="8922197" cy="639762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488504" y="2174875"/>
            <a:ext cx="8922197" cy="39512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2400">
                <a:solidFill>
                  <a:schemeClr val="tx1"/>
                </a:solidFill>
              </a:defRPr>
            </a:lvl1pPr>
            <a:lvl2pPr marL="742950" indent="-285750" fontAlgn="base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  <a:defRPr lang="en-US" sz="2000" dirty="0" smtClean="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lang="en-US" sz="1800" dirty="0" smtClean="0">
                <a:solidFill>
                  <a:schemeClr val="tx1"/>
                </a:solidFill>
                <a:latin typeface="+mn-lt"/>
                <a:ea typeface="ヒラギノ角ゴ Pro W3" charset="-128"/>
                <a:cs typeface="ヒラギノ角ゴ Pro W3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600"/>
            </a:lvl4pPr>
            <a:lvl5pPr marL="2057400" indent="-228600">
              <a:lnSpc>
                <a:spcPct val="100000"/>
              </a:lnSpc>
              <a:spcAft>
                <a:spcPts val="0"/>
              </a:spcAft>
              <a:buFont typeface="Courier New" panose="02070309020205020404" pitchFamily="49" charset="0"/>
              <a:buChar char="o"/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sz="1200" dirty="0">
              <a:effectLst/>
              <a:latin typeface="Times New Roman"/>
              <a:ea typeface="Times New Roman"/>
              <a:cs typeface="Times New Roman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7" y="116632"/>
            <a:ext cx="6641943" cy="778098"/>
          </a:xfrm>
        </p:spPr>
        <p:txBody>
          <a:bodyPr anchor="ctr"/>
          <a:lstStyle>
            <a:lvl1pPr>
              <a:lnSpc>
                <a:spcPct val="100000"/>
              </a:lnSpc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7262" y="1052736"/>
            <a:ext cx="990685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B2B7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0219973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image" Target="../media/image21.jpeg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2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8541" y="4941330"/>
            <a:ext cx="4443942" cy="503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2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818541" y="3356999"/>
            <a:ext cx="4443942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5408" y="9408"/>
            <a:ext cx="1201275" cy="632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034061-F6DB-45A0-8824-A6DBE881467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671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9" r:id="rId4"/>
    <p:sldLayoutId id="2147483680" r:id="rId5"/>
    <p:sldLayoutId id="2147483662" r:id="rId6"/>
    <p:sldLayoutId id="2147483663" r:id="rId7"/>
    <p:sldLayoutId id="2147483664" r:id="rId8"/>
    <p:sldLayoutId id="2147483667" r:id="rId9"/>
    <p:sldLayoutId id="2147483670" r:id="rId10"/>
  </p:sldLayoutIdLst>
  <p:hf sldNum="0" hdr="0" dt="0"/>
  <p:txStyles>
    <p:titleStyle>
      <a:lvl1pPr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rgbClr val="8B2B75"/>
          </a:solidFill>
          <a:latin typeface="+mj-lt"/>
          <a:ea typeface="ヒラギノ角ゴ Pro W3" charset="-128"/>
          <a:cs typeface="ヒラギノ角ゴ Pro W3" charset="-128"/>
        </a:defRPr>
      </a:lvl1pPr>
      <a:lvl2pPr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7200"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None/>
        <a:defRPr sz="2000">
          <a:solidFill>
            <a:srgbClr val="4CBBB7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SzPct val="100000"/>
        <a:buFont typeface="Times" charset="0"/>
        <a:buChar char="•"/>
        <a:defRPr sz="20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ヒラギノ角ゴ Pro W3" charset="-128"/>
        </a:defRPr>
      </a:lvl6pPr>
      <a:lvl7pPr marL="2971800" indent="-22860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ヒラギノ角ゴ Pro W3" charset="-128"/>
        </a:defRPr>
      </a:lvl7pPr>
      <a:lvl8pPr marL="3429000" indent="-22860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ヒラギノ角ゴ Pro W3" charset="-128"/>
        </a:defRPr>
      </a:lvl8pPr>
      <a:lvl9pPr marL="3886200" indent="-22860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ヒラギノ角ゴ Pro W3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8541" y="4941330"/>
            <a:ext cx="4443942" cy="503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2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818541" y="3356999"/>
            <a:ext cx="4443942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4954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sldNum="0" hdr="0" ftr="0" dt="0"/>
  <p:txStyles>
    <p:titleStyle>
      <a:lvl1pPr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rgbClr val="8B2B75"/>
          </a:solidFill>
          <a:latin typeface="+mj-lt"/>
          <a:ea typeface="ヒラギノ角ゴ Pro W3" charset="-128"/>
          <a:cs typeface="ヒラギノ角ゴ Pro W3" charset="-128"/>
        </a:defRPr>
      </a:lvl1pPr>
      <a:lvl2pPr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7200"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42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None/>
        <a:defRPr sz="2000">
          <a:solidFill>
            <a:srgbClr val="4CBBB7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SzPct val="100000"/>
        <a:buFont typeface="Times" charset="0"/>
        <a:buChar char="•"/>
        <a:defRPr sz="20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ヒラギノ角ゴ Pro W3" charset="-128"/>
        </a:defRPr>
      </a:lvl6pPr>
      <a:lvl7pPr marL="2971800" indent="-22860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ヒラギノ角ゴ Pro W3" charset="-128"/>
        </a:defRPr>
      </a:lvl7pPr>
      <a:lvl8pPr marL="3429000" indent="-22860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ヒラギノ角ゴ Pro W3" charset="-128"/>
        </a:defRPr>
      </a:lvl8pPr>
      <a:lvl9pPr marL="3886200" indent="-228600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ヒラギノ角ゴ Pro W3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6218" y="4510011"/>
            <a:ext cx="5279256" cy="503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2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66218" y="2011279"/>
            <a:ext cx="5279256" cy="2163907"/>
          </a:xfrm>
          <a:prstGeom prst="rect">
            <a:avLst/>
          </a:prstGeom>
          <a:solidFill>
            <a:srgbClr val="8B2B75"/>
          </a:solidFill>
          <a:ln>
            <a:noFill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5408" y="9408"/>
            <a:ext cx="1201275" cy="632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1626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4" r:id="rId4"/>
    <p:sldLayoutId id="2147483691" r:id="rId5"/>
    <p:sldLayoutId id="2147483692" r:id="rId6"/>
    <p:sldLayoutId id="2147483693" r:id="rId7"/>
    <p:sldLayoutId id="2147483695" r:id="rId8"/>
  </p:sldLayoutIdLst>
  <p:hf sldNum="0" hdr="0" dt="0"/>
  <p:txStyles>
    <p:titleStyle>
      <a:lvl1pPr algn="l" rtl="0" eaLnBrk="1" fontAlgn="base" hangingPunct="1">
        <a:lnSpc>
          <a:spcPts val="3413"/>
        </a:lnSpc>
        <a:spcBef>
          <a:spcPct val="0"/>
        </a:spcBef>
        <a:spcAft>
          <a:spcPct val="0"/>
        </a:spcAft>
        <a:defRPr sz="3250" b="1">
          <a:solidFill>
            <a:schemeClr val="bg1"/>
          </a:solidFill>
          <a:latin typeface="+mj-lt"/>
          <a:ea typeface="ヒラギノ角ゴ Pro W3" charset="-128"/>
          <a:cs typeface="ヒラギノ角ゴ Pro W3" charset="-128"/>
        </a:defRPr>
      </a:lvl1pPr>
      <a:lvl2pPr algn="l" rtl="0" eaLnBrk="1" fontAlgn="base" hangingPunct="1">
        <a:lnSpc>
          <a:spcPts val="3413"/>
        </a:lnSpc>
        <a:spcBef>
          <a:spcPct val="0"/>
        </a:spcBef>
        <a:spcAft>
          <a:spcPct val="0"/>
        </a:spcAft>
        <a:defRPr sz="325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1" fontAlgn="base" hangingPunct="1">
        <a:lnSpc>
          <a:spcPts val="3413"/>
        </a:lnSpc>
        <a:spcBef>
          <a:spcPct val="0"/>
        </a:spcBef>
        <a:spcAft>
          <a:spcPct val="0"/>
        </a:spcAft>
        <a:defRPr sz="325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1" fontAlgn="base" hangingPunct="1">
        <a:lnSpc>
          <a:spcPts val="3413"/>
        </a:lnSpc>
        <a:spcBef>
          <a:spcPct val="0"/>
        </a:spcBef>
        <a:spcAft>
          <a:spcPct val="0"/>
        </a:spcAft>
        <a:defRPr sz="325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1" fontAlgn="base" hangingPunct="1">
        <a:lnSpc>
          <a:spcPts val="3413"/>
        </a:lnSpc>
        <a:spcBef>
          <a:spcPct val="0"/>
        </a:spcBef>
        <a:spcAft>
          <a:spcPct val="0"/>
        </a:spcAft>
        <a:defRPr sz="325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371475" algn="l" rtl="0" eaLnBrk="1" fontAlgn="base" hangingPunct="1">
        <a:lnSpc>
          <a:spcPts val="3413"/>
        </a:lnSpc>
        <a:spcBef>
          <a:spcPct val="0"/>
        </a:spcBef>
        <a:spcAft>
          <a:spcPct val="0"/>
        </a:spcAft>
        <a:defRPr sz="3250" b="1">
          <a:solidFill>
            <a:schemeClr val="tx2"/>
          </a:solidFill>
          <a:latin typeface="Arial" charset="0"/>
        </a:defRPr>
      </a:lvl6pPr>
      <a:lvl7pPr marL="742950" algn="l" rtl="0" eaLnBrk="1" fontAlgn="base" hangingPunct="1">
        <a:lnSpc>
          <a:spcPts val="3413"/>
        </a:lnSpc>
        <a:spcBef>
          <a:spcPct val="0"/>
        </a:spcBef>
        <a:spcAft>
          <a:spcPct val="0"/>
        </a:spcAft>
        <a:defRPr sz="3250" b="1">
          <a:solidFill>
            <a:schemeClr val="tx2"/>
          </a:solidFill>
          <a:latin typeface="Arial" charset="0"/>
        </a:defRPr>
      </a:lvl7pPr>
      <a:lvl8pPr marL="1114425" algn="l" rtl="0" eaLnBrk="1" fontAlgn="base" hangingPunct="1">
        <a:lnSpc>
          <a:spcPts val="3413"/>
        </a:lnSpc>
        <a:spcBef>
          <a:spcPct val="0"/>
        </a:spcBef>
        <a:spcAft>
          <a:spcPct val="0"/>
        </a:spcAft>
        <a:defRPr sz="3250" b="1">
          <a:solidFill>
            <a:schemeClr val="tx2"/>
          </a:solidFill>
          <a:latin typeface="Arial" charset="0"/>
        </a:defRPr>
      </a:lvl8pPr>
      <a:lvl9pPr marL="1485900" algn="l" rtl="0" eaLnBrk="1" fontAlgn="base" hangingPunct="1">
        <a:lnSpc>
          <a:spcPts val="3413"/>
        </a:lnSpc>
        <a:spcBef>
          <a:spcPct val="0"/>
        </a:spcBef>
        <a:spcAft>
          <a:spcPct val="0"/>
        </a:spcAft>
        <a:defRPr sz="325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ts val="1950"/>
        </a:lnSpc>
        <a:spcBef>
          <a:spcPct val="0"/>
        </a:spcBef>
        <a:spcAft>
          <a:spcPct val="0"/>
        </a:spcAft>
        <a:buNone/>
        <a:defRPr sz="1625" b="1">
          <a:solidFill>
            <a:srgbClr val="4CBBB7"/>
          </a:solidFill>
          <a:latin typeface="+mn-lt"/>
          <a:ea typeface="ヒラギノ角ゴ Pro W3" charset="-128"/>
          <a:cs typeface="ヒラギノ角ゴ Pro W3" charset="-128"/>
        </a:defRPr>
      </a:lvl1pPr>
      <a:lvl2pPr marL="603647" indent="-232172" algn="l" rtl="0" eaLnBrk="1" fontAlgn="base" hangingPunct="1">
        <a:lnSpc>
          <a:spcPts val="1950"/>
        </a:lnSpc>
        <a:spcBef>
          <a:spcPct val="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928688" indent="-185738" algn="l" rtl="0" eaLnBrk="1" fontAlgn="base" hangingPunct="1">
        <a:lnSpc>
          <a:spcPts val="1950"/>
        </a:lnSpc>
        <a:spcBef>
          <a:spcPct val="0"/>
        </a:spcBef>
        <a:spcAft>
          <a:spcPct val="0"/>
        </a:spcAft>
        <a:buChar char="•"/>
        <a:defRPr sz="1625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300163" indent="-185738" algn="l" rtl="0" eaLnBrk="1" fontAlgn="base" hangingPunct="1">
        <a:lnSpc>
          <a:spcPts val="1950"/>
        </a:lnSpc>
        <a:spcBef>
          <a:spcPct val="0"/>
        </a:spcBef>
        <a:spcAft>
          <a:spcPct val="0"/>
        </a:spcAft>
        <a:buSzPct val="100000"/>
        <a:buFont typeface="Times" charset="0"/>
        <a:buChar char="•"/>
        <a:defRPr sz="1625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671638" indent="-185738" algn="l" rtl="0" eaLnBrk="1" fontAlgn="base" hangingPunct="1">
        <a:lnSpc>
          <a:spcPts val="1950"/>
        </a:lnSpc>
        <a:spcBef>
          <a:spcPct val="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043113" indent="-185738" algn="l" rtl="0" eaLnBrk="1" fontAlgn="base" hangingPunct="1">
        <a:lnSpc>
          <a:spcPts val="1950"/>
        </a:lnSpc>
        <a:spcBef>
          <a:spcPct val="0"/>
        </a:spcBef>
        <a:spcAft>
          <a:spcPct val="0"/>
        </a:spcAft>
        <a:defRPr sz="1625">
          <a:solidFill>
            <a:schemeClr val="tx1"/>
          </a:solidFill>
          <a:latin typeface="+mn-lt"/>
          <a:ea typeface="ヒラギノ角ゴ Pro W3" charset="-128"/>
        </a:defRPr>
      </a:lvl6pPr>
      <a:lvl7pPr marL="2414588" indent="-185738" algn="l" rtl="0" eaLnBrk="1" fontAlgn="base" hangingPunct="1">
        <a:lnSpc>
          <a:spcPts val="1950"/>
        </a:lnSpc>
        <a:spcBef>
          <a:spcPct val="0"/>
        </a:spcBef>
        <a:spcAft>
          <a:spcPct val="0"/>
        </a:spcAft>
        <a:defRPr sz="1625">
          <a:solidFill>
            <a:schemeClr val="tx1"/>
          </a:solidFill>
          <a:latin typeface="+mn-lt"/>
          <a:ea typeface="ヒラギノ角ゴ Pro W3" charset="-128"/>
        </a:defRPr>
      </a:lvl7pPr>
      <a:lvl8pPr marL="2786063" indent="-185738" algn="l" rtl="0" eaLnBrk="1" fontAlgn="base" hangingPunct="1">
        <a:lnSpc>
          <a:spcPts val="1950"/>
        </a:lnSpc>
        <a:spcBef>
          <a:spcPct val="0"/>
        </a:spcBef>
        <a:spcAft>
          <a:spcPct val="0"/>
        </a:spcAft>
        <a:defRPr sz="1625">
          <a:solidFill>
            <a:schemeClr val="tx1"/>
          </a:solidFill>
          <a:latin typeface="+mn-lt"/>
          <a:ea typeface="ヒラギノ角ゴ Pro W3" charset="-128"/>
        </a:defRPr>
      </a:lvl8pPr>
      <a:lvl9pPr marL="3157538" indent="-185738" algn="l" rtl="0" eaLnBrk="1" fontAlgn="base" hangingPunct="1">
        <a:lnSpc>
          <a:spcPts val="1950"/>
        </a:lnSpc>
        <a:spcBef>
          <a:spcPct val="0"/>
        </a:spcBef>
        <a:spcAft>
          <a:spcPct val="0"/>
        </a:spcAft>
        <a:defRPr sz="1625">
          <a:solidFill>
            <a:schemeClr val="tx1"/>
          </a:solidFill>
          <a:latin typeface="+mn-lt"/>
          <a:ea typeface="ヒラギノ角ゴ Pro W3" charset="-128"/>
        </a:defRPr>
      </a:lvl9pPr>
    </p:bodyStyle>
    <p:otherStyle>
      <a:defPPr>
        <a:defRPr lang="en-US"/>
      </a:defPPr>
      <a:lvl1pPr marL="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5868" y="-31736"/>
            <a:ext cx="891437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868" y="1143613"/>
            <a:ext cx="8914370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5"/>
            <a:ext cx="9906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908" y="25639"/>
            <a:ext cx="1654303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681755"/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681755"/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46914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298835"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597695"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896542"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195392"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24138" indent="-224138" algn="l" rtl="0" eaLnBrk="1" fontAlgn="base" hangingPunct="1">
        <a:spcBef>
          <a:spcPct val="2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485628" indent="-186782" algn="l" rtl="0" eaLnBrk="1" fontAlgn="base" hangingPunct="1">
        <a:spcBef>
          <a:spcPct val="20000"/>
        </a:spcBef>
        <a:spcAft>
          <a:spcPct val="0"/>
        </a:spcAft>
        <a:buChar char="–"/>
        <a:defRPr sz="1950">
          <a:solidFill>
            <a:schemeClr val="tx1"/>
          </a:solidFill>
          <a:latin typeface="+mn-lt"/>
        </a:defRPr>
      </a:lvl2pPr>
      <a:lvl3pPr marL="747122" indent="-149418" algn="l" rtl="0" eaLnBrk="1" fontAlgn="base" hangingPunct="1">
        <a:spcBef>
          <a:spcPct val="20000"/>
        </a:spcBef>
        <a:spcAft>
          <a:spcPct val="0"/>
        </a:spcAft>
        <a:buChar char="•"/>
        <a:defRPr sz="1575">
          <a:solidFill>
            <a:schemeClr val="tx1"/>
          </a:solidFill>
          <a:latin typeface="+mn-lt"/>
        </a:defRPr>
      </a:lvl3pPr>
      <a:lvl4pPr marL="1045973" indent="-149418" algn="l" rtl="0" eaLnBrk="1" fontAlgn="base" hangingPunct="1">
        <a:spcBef>
          <a:spcPct val="20000"/>
        </a:spcBef>
        <a:spcAft>
          <a:spcPct val="0"/>
        </a:spcAft>
        <a:buChar char="–"/>
        <a:defRPr sz="1425">
          <a:solidFill>
            <a:schemeClr val="tx1"/>
          </a:solidFill>
          <a:latin typeface="+mn-lt"/>
        </a:defRPr>
      </a:lvl4pPr>
      <a:lvl5pPr marL="1344818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5pPr>
      <a:lvl6pPr marL="1643669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6pPr>
      <a:lvl7pPr marL="1942518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7pPr>
      <a:lvl8pPr marL="2241369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8pPr>
      <a:lvl9pPr marL="2540213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98835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97695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96542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95392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494242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793089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091941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390789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5825" y="-31737"/>
            <a:ext cx="891437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825" y="1143617"/>
            <a:ext cx="8914370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5"/>
            <a:ext cx="9906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3905" y="25639"/>
            <a:ext cx="1654302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214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913648" eaLnBrk="0" fontAlgn="base" hangingPunct="0">
              <a:spcBef>
                <a:spcPct val="0"/>
              </a:spcBef>
              <a:spcAft>
                <a:spcPct val="0"/>
              </a:spcAft>
            </a:pPr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913648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51371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400499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800998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201497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601995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300374" indent="-300374" algn="l" rtl="0" fontAlgn="base">
        <a:spcBef>
          <a:spcPct val="20000"/>
        </a:spcBef>
        <a:spcAft>
          <a:spcPct val="0"/>
        </a:spcAft>
        <a:buChar char="•"/>
        <a:defRPr sz="2786">
          <a:solidFill>
            <a:schemeClr val="tx1"/>
          </a:solidFill>
          <a:latin typeface="+mn-lt"/>
          <a:ea typeface="+mn-ea"/>
          <a:cs typeface="+mn-cs"/>
        </a:defRPr>
      </a:lvl1pPr>
      <a:lvl2pPr marL="650811" indent="-250312" algn="l" rtl="0" fontAlgn="base">
        <a:spcBef>
          <a:spcPct val="20000"/>
        </a:spcBef>
        <a:spcAft>
          <a:spcPct val="0"/>
        </a:spcAft>
        <a:buChar char="–"/>
        <a:defRPr sz="2500">
          <a:solidFill>
            <a:schemeClr val="tx1"/>
          </a:solidFill>
          <a:latin typeface="+mn-lt"/>
        </a:defRPr>
      </a:lvl2pPr>
      <a:lvl3pPr marL="1001248" indent="-200250" algn="l" rtl="0" fontAlgn="base">
        <a:spcBef>
          <a:spcPct val="20000"/>
        </a:spcBef>
        <a:spcAft>
          <a:spcPct val="0"/>
        </a:spcAft>
        <a:buChar char="•"/>
        <a:defRPr sz="2071">
          <a:solidFill>
            <a:schemeClr val="tx1"/>
          </a:solidFill>
          <a:latin typeface="+mn-lt"/>
        </a:defRPr>
      </a:lvl3pPr>
      <a:lvl4pPr marL="1401745" indent="-200250" algn="l" rtl="0" fontAlgn="base">
        <a:spcBef>
          <a:spcPct val="20000"/>
        </a:spcBef>
        <a:spcAft>
          <a:spcPct val="0"/>
        </a:spcAft>
        <a:buChar char="–"/>
        <a:defRPr sz="1786">
          <a:solidFill>
            <a:schemeClr val="tx1"/>
          </a:solidFill>
          <a:latin typeface="+mn-lt"/>
        </a:defRPr>
      </a:lvl4pPr>
      <a:lvl5pPr marL="1802243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5pPr>
      <a:lvl6pPr marL="2202740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6pPr>
      <a:lvl7pPr marL="2603242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7pPr>
      <a:lvl8pPr marL="3003744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8pPr>
      <a:lvl9pPr marL="3404239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1pPr>
      <a:lvl2pPr marL="400499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2pPr>
      <a:lvl3pPr marL="800998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3pPr>
      <a:lvl4pPr marL="1201497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4pPr>
      <a:lvl5pPr marL="1601995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5pPr>
      <a:lvl6pPr marL="2002495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6pPr>
      <a:lvl7pPr marL="2402992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7pPr>
      <a:lvl8pPr marL="2803490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8pPr>
      <a:lvl9pPr marL="3203987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56" y="116632"/>
            <a:ext cx="8424936" cy="778098"/>
          </a:xfrm>
        </p:spPr>
        <p:txBody>
          <a:bodyPr/>
          <a:lstStyle/>
          <a:p>
            <a:r>
              <a:rPr lang="en-GB" dirty="0" smtClean="0">
                <a:ea typeface="ヒラギノ角ゴ Pro W3"/>
              </a:rPr>
              <a:t> </a:t>
            </a:r>
            <a:r>
              <a:rPr lang="en-GB" dirty="0" smtClean="0">
                <a:ea typeface="ヒラギノ角ゴ Pro W3"/>
              </a:rPr>
              <a:t>Healthy </a:t>
            </a:r>
            <a:r>
              <a:rPr lang="en-GB" smtClean="0">
                <a:ea typeface="ヒラギノ角ゴ Pro W3"/>
              </a:rPr>
              <a:t>Communities Together: </a:t>
            </a:r>
            <a:r>
              <a:rPr lang="en-GB" dirty="0" smtClean="0">
                <a:ea typeface="ヒラギノ角ゴ Pro W3"/>
              </a:rPr>
              <a:t>Empowering and Engaging Local People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788" y="1124744"/>
            <a:ext cx="9592212" cy="5589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773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MS_TEMPLATE_ID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ne Croydon">
  <a:themeElements>
    <a:clrScheme name="SLCSU">
      <a:dk1>
        <a:sysClr val="windowText" lastClr="000000"/>
      </a:dk1>
      <a:lt1>
        <a:sysClr val="window" lastClr="FFFFFF"/>
      </a:lt1>
      <a:dk2>
        <a:srgbClr val="595959"/>
      </a:dk2>
      <a:lt2>
        <a:srgbClr val="FFFFFF"/>
      </a:lt2>
      <a:accent1>
        <a:srgbClr val="0096D1"/>
      </a:accent1>
      <a:accent2>
        <a:srgbClr val="283885"/>
      </a:accent2>
      <a:accent3>
        <a:srgbClr val="B20570"/>
      </a:accent3>
      <a:accent4>
        <a:srgbClr val="AC324B"/>
      </a:accent4>
      <a:accent5>
        <a:srgbClr val="F6981C"/>
      </a:accent5>
      <a:accent6>
        <a:srgbClr val="9BBB59"/>
      </a:accent6>
      <a:hlink>
        <a:srgbClr val="0096D1"/>
      </a:hlink>
      <a:folHlink>
        <a:srgbClr val="B20570"/>
      </a:folHlink>
    </a:clrScheme>
    <a:fontScheme name="SH&amp;SC_PP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H&amp;SC_PP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ne Croydon" id="{55CC5402-5111-4916-9E6B-F3AB452D0ABB}" vid="{0956FCA8-11B9-4AED-BFDD-7394D8EE2B95}"/>
    </a:ext>
  </a:extLst>
</a:theme>
</file>

<file path=ppt/theme/theme2.xml><?xml version="1.0" encoding="utf-8"?>
<a:theme xmlns:a="http://schemas.openxmlformats.org/drawingml/2006/main" name="1_SLCSU powerpoint temp">
  <a:themeElements>
    <a:clrScheme name="SLCSU">
      <a:dk1>
        <a:sysClr val="windowText" lastClr="000000"/>
      </a:dk1>
      <a:lt1>
        <a:sysClr val="window" lastClr="FFFFFF"/>
      </a:lt1>
      <a:dk2>
        <a:srgbClr val="595959"/>
      </a:dk2>
      <a:lt2>
        <a:srgbClr val="FFFFFF"/>
      </a:lt2>
      <a:accent1>
        <a:srgbClr val="0096D1"/>
      </a:accent1>
      <a:accent2>
        <a:srgbClr val="283885"/>
      </a:accent2>
      <a:accent3>
        <a:srgbClr val="B20570"/>
      </a:accent3>
      <a:accent4>
        <a:srgbClr val="AC324B"/>
      </a:accent4>
      <a:accent5>
        <a:srgbClr val="F6981C"/>
      </a:accent5>
      <a:accent6>
        <a:srgbClr val="9BBB59"/>
      </a:accent6>
      <a:hlink>
        <a:srgbClr val="0096D1"/>
      </a:hlink>
      <a:folHlink>
        <a:srgbClr val="B20570"/>
      </a:folHlink>
    </a:clrScheme>
    <a:fontScheme name="SH&amp;SC_PP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H&amp;SC_PP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ne Croydon" id="{02CC6CC7-695E-4073-9E7A-1D9312EE710D}" vid="{9595919E-DCDC-4426-9B33-D5E29E0C1699}"/>
    </a:ext>
  </a:extLst>
</a:theme>
</file>

<file path=ppt/theme/theme3.xml><?xml version="1.0" encoding="utf-8"?>
<a:theme xmlns:a="http://schemas.openxmlformats.org/drawingml/2006/main" name="1_One Croydon">
  <a:themeElements>
    <a:clrScheme name="SLCSU">
      <a:dk1>
        <a:sysClr val="windowText" lastClr="000000"/>
      </a:dk1>
      <a:lt1>
        <a:sysClr val="window" lastClr="FFFFFF"/>
      </a:lt1>
      <a:dk2>
        <a:srgbClr val="595959"/>
      </a:dk2>
      <a:lt2>
        <a:srgbClr val="FFFFFF"/>
      </a:lt2>
      <a:accent1>
        <a:srgbClr val="0096D1"/>
      </a:accent1>
      <a:accent2>
        <a:srgbClr val="283885"/>
      </a:accent2>
      <a:accent3>
        <a:srgbClr val="B20570"/>
      </a:accent3>
      <a:accent4>
        <a:srgbClr val="AC324B"/>
      </a:accent4>
      <a:accent5>
        <a:srgbClr val="F6981C"/>
      </a:accent5>
      <a:accent6>
        <a:srgbClr val="9BBB59"/>
      </a:accent6>
      <a:hlink>
        <a:srgbClr val="0096D1"/>
      </a:hlink>
      <a:folHlink>
        <a:srgbClr val="B20570"/>
      </a:folHlink>
    </a:clrScheme>
    <a:fontScheme name="SH&amp;SC_PP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H&amp;SC_PP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H&amp;SC_PP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H&amp;SC_PP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ne Croydon" id="{AB4C1E40-E85F-4D9D-B76F-C87EFC141234}" vid="{01CB6964-9B75-4172-A96B-15D0E0CEFF3A}"/>
    </a:ext>
  </a:extLst>
</a:theme>
</file>

<file path=ppt/theme/theme4.xml><?xml version="1.0" encoding="utf-8"?>
<a:theme xmlns:a="http://schemas.openxmlformats.org/drawingml/2006/main" name="29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LBC Template" id="{ABA1333A-6A28-4FE0-942C-F5BFB0DE3E38}" vid="{FBBBD265-CD08-468B-B21B-A189A6EB5C8B}"/>
    </a:ext>
  </a:extLst>
</a:theme>
</file>

<file path=ppt/theme/theme5.xml><?xml version="1.0" encoding="utf-8"?>
<a:theme xmlns:a="http://schemas.openxmlformats.org/drawingml/2006/main" name="3_Custom Design">
  <a:themeElements>
    <a:clrScheme name="Civic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B43D219697BCF4283E20D5499DB1348" ma:contentTypeVersion="16" ma:contentTypeDescription="Create a new document." ma:contentTypeScope="" ma:versionID="22c89f1ffacf44c9f796c84fc8ade0c5">
  <xsd:schema xmlns:xsd="http://www.w3.org/2001/XMLSchema" xmlns:xs="http://www.w3.org/2001/XMLSchema" xmlns:p="http://schemas.microsoft.com/office/2006/metadata/properties" xmlns:ns2="f2b78acb-a125-42ee-931d-35b42eaca4cf" xmlns:ns3="93767e66-d730-43a0-afa2-5fcaddf2fd97" xmlns:ns4="df498253-3aa7-4bb4-9096-be486bb64942" targetNamespace="http://schemas.microsoft.com/office/2006/metadata/properties" ma:root="true" ma:fieldsID="883b75f6a5be9a8999a0dc576ef4c796" ns2:_="" ns3:_="" ns4:_="">
    <xsd:import namespace="f2b78acb-a125-42ee-931d-35b42eaca4cf"/>
    <xsd:import namespace="93767e66-d730-43a0-afa2-5fcaddf2fd97"/>
    <xsd:import namespace="df498253-3aa7-4bb4-9096-be486bb64942"/>
    <xsd:element name="properties">
      <xsd:complexType>
        <xsd:sequence>
          <xsd:element name="documentManagement">
            <xsd:complexType>
              <xsd:all>
                <xsd:element ref="ns2:Document_x0020_Description" minOccurs="0"/>
                <xsd:element ref="ns2:DocumentAuthor" minOccurs="0"/>
                <xsd:element ref="ns2:ProtectiveClassification" minOccurs="0"/>
                <xsd:element ref="ns2:febcb389c47c4530afe6acfa103de16c" minOccurs="0"/>
                <xsd:element ref="ns2:TaxCatchAll" minOccurs="0"/>
                <xsd:element ref="ns2:TaxCatchAllLabel" minOccurs="0"/>
                <xsd:element ref="ns2:l1c2f45cb913413195fefa0ed1a24d84" minOccurs="0"/>
                <xsd:element ref="ns2:TaxKeywordTaxHTField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4:SharedWithUsers" minOccurs="0"/>
                <xsd:element ref="ns4:SharedWithDetail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b78acb-a125-42ee-931d-35b42eaca4cf" elementFormDefault="qualified">
    <xsd:import namespace="http://schemas.microsoft.com/office/2006/documentManagement/types"/>
    <xsd:import namespace="http://schemas.microsoft.com/office/infopath/2007/PartnerControls"/>
    <xsd:element name="Document_x0020_Description" ma:index="8" nillable="true" ma:displayName="Document Description" ma:internalName="Document_x0020_Description">
      <xsd:simpleType>
        <xsd:restriction base="dms:Note">
          <xsd:maxLength value="255"/>
        </xsd:restriction>
      </xsd:simpleType>
    </xsd:element>
    <xsd:element name="DocumentAuthor" ma:index="9" nillable="true" ma:displayName="Primary Contact" ma:list="UserInfo" ma:SearchPeopleOnly="false" ma:SharePointGroup="0" ma:internalName="Document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ProtectiveClassification" ma:index="10" nillable="true" ma:displayName="Protective Marking" ma:default="NOT CLASSIFIED" ma:description="Protective Marking scheme for LBC is being reviewed and will be available at a later date. NOT CLASSIFIED means that no Protective Marking decision has been made." ma:format="Dropdown" ma:internalName="ProtectiveClassification">
      <xsd:simpleType>
        <xsd:restriction base="dms:Choice">
          <xsd:enumeration value="NOT CLASSIFIED"/>
        </xsd:restriction>
      </xsd:simpleType>
    </xsd:element>
    <xsd:element name="febcb389c47c4530afe6acfa103de16c" ma:index="11" nillable="true" ma:taxonomy="true" ma:internalName="febcb389c47c4530afe6acfa103de16c" ma:taxonomyFieldName="OrganisationalUnit" ma:displayName="Organisational Unit" ma:default="" ma:fieldId="{febcb389-c47c-4530-afe6-acfa103de16c}" ma:sspId="c265c3e7-f7ae-4ea0-b3f5-7c0024770d98" ma:termSetId="21787c9d-e40d-4e47-be76-3b424c150f9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2" nillable="true" ma:displayName="Taxonomy Catch All Column" ma:hidden="true" ma:list="{17ed2a5e-1740-4b64-96b3-a75669f94978}" ma:internalName="TaxCatchAll" ma:showField="CatchAllData" ma:web="df498253-3aa7-4bb4-9096-be486bb6494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hidden="true" ma:list="{17ed2a5e-1740-4b64-96b3-a75669f94978}" ma:internalName="TaxCatchAllLabel" ma:readOnly="true" ma:showField="CatchAllDataLabel" ma:web="df498253-3aa7-4bb4-9096-be486bb6494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1c2f45cb913413195fefa0ed1a24d84" ma:index="15" nillable="true" ma:taxonomy="true" ma:internalName="l1c2f45cb913413195fefa0ed1a24d84" ma:taxonomyFieldName="Activity" ma:displayName="Activity" ma:fieldId="{51c2f45c-b913-4131-95fe-fa0ed1a24d84}" ma:sspId="c265c3e7-f7ae-4ea0-b3f5-7c0024770d98" ma:termSetId="753275df-fc85-4ec7-8f6d-defd1dbad5d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KeywordTaxHTField" ma:index="17" nillable="true" ma:taxonomy="true" ma:internalName="TaxKeywordTaxHTField" ma:taxonomyFieldName="TaxKeyword" ma:displayName="Enterprise Keywords" ma:fieldId="{23f27201-bee3-471e-b2e7-b64fd8b7ca38}" ma:taxonomyMulti="true" ma:sspId="c265c3e7-f7ae-4ea0-b3f5-7c0024770d98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767e66-d730-43a0-afa2-5fcaddf2fd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1" nillable="true" ma:displayName="Tags" ma:internalName="MediaServiceAutoTags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2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3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498253-3aa7-4bb4-9096-be486bb64942" elementFormDefault="qualified">
    <xsd:import namespace="http://schemas.microsoft.com/office/2006/documentManagement/types"/>
    <xsd:import namespace="http://schemas.microsoft.com/office/infopath/2007/PartnerControls"/>
    <xsd:element name="SharedWithUsers" ma:index="2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c265c3e7-f7ae-4ea0-b3f5-7c0024770d98" ContentTypeId="0x0101" PreviousValue="false"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b78acb-a125-42ee-931d-35b42eaca4cf"/>
    <Document_x0020_Description xmlns="f2b78acb-a125-42ee-931d-35b42eaca4cf" xsi:nil="true"/>
    <DocumentAuthor xmlns="f2b78acb-a125-42ee-931d-35b42eaca4cf">
      <UserInfo>
        <DisplayName/>
        <AccountId xsi:nil="true"/>
        <AccountType/>
      </UserInfo>
    </DocumentAuthor>
    <febcb389c47c4530afe6acfa103de16c xmlns="f2b78acb-a125-42ee-931d-35b42eaca4cf">
      <Terms xmlns="http://schemas.microsoft.com/office/infopath/2007/PartnerControls"/>
    </febcb389c47c4530afe6acfa103de16c>
    <TaxKeywordTaxHTField xmlns="f2b78acb-a125-42ee-931d-35b42eaca4cf">
      <Terms xmlns="http://schemas.microsoft.com/office/infopath/2007/PartnerControls"/>
    </TaxKeywordTaxHTField>
    <ProtectiveClassification xmlns="f2b78acb-a125-42ee-931d-35b42eaca4cf">NOT CLASSIFIED</ProtectiveClassification>
    <l1c2f45cb913413195fefa0ed1a24d84 xmlns="f2b78acb-a125-42ee-931d-35b42eaca4cf">
      <Terms xmlns="http://schemas.microsoft.com/office/infopath/2007/PartnerControls"/>
    </l1c2f45cb913413195fefa0ed1a24d84>
  </documentManagement>
</p:properties>
</file>

<file path=customXml/itemProps1.xml><?xml version="1.0" encoding="utf-8"?>
<ds:datastoreItem xmlns:ds="http://schemas.openxmlformats.org/officeDocument/2006/customXml" ds:itemID="{1481070C-1892-4081-9053-D82101B1D7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b78acb-a125-42ee-931d-35b42eaca4cf"/>
    <ds:schemaRef ds:uri="93767e66-d730-43a0-afa2-5fcaddf2fd97"/>
    <ds:schemaRef ds:uri="df498253-3aa7-4bb4-9096-be486bb6494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539BF51-3AE2-4C3D-BA6C-0D4A287AFC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B810FE-9F9F-4C35-81C2-3BA3D75985DD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AAED1709-D1E2-4C02-A16D-9963F5673913}">
  <ds:schemaRefs>
    <ds:schemaRef ds:uri="http://purl.org/dc/terms/"/>
    <ds:schemaRef ds:uri="df498253-3aa7-4bb4-9096-be486bb64942"/>
    <ds:schemaRef ds:uri="http://schemas.microsoft.com/office/2006/documentManagement/types"/>
    <ds:schemaRef ds:uri="93767e66-d730-43a0-afa2-5fcaddf2fd97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f2b78acb-a125-42ee-931d-35b42eaca4cf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ne Croydon</Template>
  <TotalTime>95291</TotalTime>
  <Words>10</Words>
  <Application>Microsoft Office PowerPoint</Application>
  <PresentationFormat>A4 Paper (210x297 mm)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9" baseType="lpstr">
      <vt:lpstr>MS PGothic</vt:lpstr>
      <vt:lpstr>MS PGothic</vt:lpstr>
      <vt:lpstr>Arial</vt:lpstr>
      <vt:lpstr>Calibri</vt:lpstr>
      <vt:lpstr>Courier New</vt:lpstr>
      <vt:lpstr>Lato</vt:lpstr>
      <vt:lpstr>Lato Black</vt:lpstr>
      <vt:lpstr>Times</vt:lpstr>
      <vt:lpstr>Times New Roman</vt:lpstr>
      <vt:lpstr>Wingdings</vt:lpstr>
      <vt:lpstr>Yrsa</vt:lpstr>
      <vt:lpstr>ヒラギノ角ゴ Pro W3</vt:lpstr>
      <vt:lpstr>One Croydon</vt:lpstr>
      <vt:lpstr>1_SLCSU powerpoint temp</vt:lpstr>
      <vt:lpstr>1_One Croydon</vt:lpstr>
      <vt:lpstr>29_Custom Design</vt:lpstr>
      <vt:lpstr>3_Custom Design</vt:lpstr>
      <vt:lpstr>think-cell Slide</vt:lpstr>
      <vt:lpstr> Healthy Communities Together: Empowering and Engaging Local Peopl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oydon Alliance Agreement (CAA) Workshop Wednesday  20 July 2016</dc:title>
  <dc:creator>Ellis Martin (NHS CROYDON CCG)</dc:creator>
  <cp:lastModifiedBy>Sarah Burns</cp:lastModifiedBy>
  <cp:revision>1834</cp:revision>
  <cp:lastPrinted>2019-03-14T10:55:39Z</cp:lastPrinted>
  <dcterms:modified xsi:type="dcterms:W3CDTF">2021-11-02T14:08:33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43D219697BCF4283E20D5499DB1348</vt:lpwstr>
  </property>
  <property fmtid="{D5CDD505-2E9C-101B-9397-08002B2CF9AE}" pid="3" name="TaxKeyword">
    <vt:lpwstr/>
  </property>
  <property fmtid="{D5CDD505-2E9C-101B-9397-08002B2CF9AE}" pid="4" name="Activity">
    <vt:lpwstr/>
  </property>
  <property fmtid="{D5CDD505-2E9C-101B-9397-08002B2CF9AE}" pid="5" name="OrganisationalUnit">
    <vt:lpwstr/>
  </property>
</Properties>
</file>